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87" r:id="rId2"/>
    <p:sldId id="384" r:id="rId3"/>
    <p:sldId id="3029" r:id="rId4"/>
    <p:sldId id="3034" r:id="rId5"/>
    <p:sldId id="3035" r:id="rId6"/>
    <p:sldId id="3036" r:id="rId7"/>
    <p:sldId id="3033" r:id="rId8"/>
    <p:sldId id="3032" r:id="rId9"/>
    <p:sldId id="3031" r:id="rId10"/>
    <p:sldId id="3037" r:id="rId11"/>
    <p:sldId id="3038" r:id="rId12"/>
    <p:sldId id="3030" r:id="rId13"/>
    <p:sldId id="3015" r:id="rId14"/>
    <p:sldId id="3027" r:id="rId15"/>
    <p:sldId id="3028" r:id="rId16"/>
    <p:sldId id="3026" r:id="rId17"/>
    <p:sldId id="411" r:id="rId18"/>
    <p:sldId id="3013" r:id="rId19"/>
    <p:sldId id="3014" r:id="rId20"/>
    <p:sldId id="401" r:id="rId21"/>
    <p:sldId id="3016" r:id="rId22"/>
    <p:sldId id="3018" r:id="rId23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24">
          <p15:clr>
            <a:srgbClr val="A4A3A4"/>
          </p15:clr>
        </p15:guide>
        <p15:guide id="2" orient="horz" pos="1501">
          <p15:clr>
            <a:srgbClr val="A4A3A4"/>
          </p15:clr>
        </p15:guide>
        <p15:guide id="3" pos="354">
          <p15:clr>
            <a:srgbClr val="A4A3A4"/>
          </p15:clr>
        </p15:guide>
        <p15:guide id="4" pos="474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800" autoAdjust="0"/>
    <p:restoredTop sz="96224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787" y="77"/>
      </p:cViewPr>
      <p:guideLst>
        <p:guide orient="horz" pos="924"/>
        <p:guide orient="horz" pos="1501"/>
        <p:guide pos="354"/>
        <p:guide pos="47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2DECE0-0DFF-BD44-88D2-0FF326440D26}" type="datetimeFigureOut">
              <a:rPr lang="en-US" smtClean="0">
                <a:latin typeface="Arial" panose="020B0604020202020204" pitchFamily="34" charset="0"/>
              </a:rPr>
              <a:t>2/14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2DD2E3-D5F2-4A45-AF19-CC16CA563B20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21397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524079EE-3B77-AA4E-B586-B4DC1EA01BA6}" type="datetimeFigureOut">
              <a:rPr lang="en-US" smtClean="0"/>
              <a:pPr/>
              <a:t>2/1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  <a:p>
            <a:pPr lvl="3"/>
            <a:r>
              <a:rPr lang="nl-BE" dirty="0"/>
              <a:t>Fourth level</a:t>
            </a:r>
          </a:p>
          <a:p>
            <a:pPr lvl="4"/>
            <a:r>
              <a:rPr lang="nl-BE" dirty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830FA47-062E-4A4D-8B01-918B252010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0908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pagina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-1"/>
            <a:ext cx="9144000" cy="49325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706411"/>
            <a:ext cx="4167536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pic>
        <p:nvPicPr>
          <p:cNvPr id="5" name="Picture 4" descr="Materialise_BL_s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4740" y="4151843"/>
            <a:ext cx="1181449" cy="583928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1980717" y="-70215"/>
            <a:ext cx="7305402" cy="3635626"/>
          </a:xfrm>
          <a:custGeom>
            <a:avLst/>
            <a:gdLst>
              <a:gd name="connsiteX0" fmla="*/ 0 w 2324100"/>
              <a:gd name="connsiteY0" fmla="*/ 0 h 1909763"/>
              <a:gd name="connsiteX1" fmla="*/ 2324100 w 2324100"/>
              <a:gd name="connsiteY1" fmla="*/ 0 h 1909763"/>
              <a:gd name="connsiteX2" fmla="*/ 2324100 w 2324100"/>
              <a:gd name="connsiteY2" fmla="*/ 1909763 h 1909763"/>
              <a:gd name="connsiteX3" fmla="*/ 0 w 2324100"/>
              <a:gd name="connsiteY3" fmla="*/ 1909763 h 1909763"/>
              <a:gd name="connsiteX4" fmla="*/ 0 w 2324100"/>
              <a:gd name="connsiteY4" fmla="*/ 0 h 1909763"/>
              <a:gd name="connsiteX0" fmla="*/ 3692435 w 3692435"/>
              <a:gd name="connsiteY0" fmla="*/ 0 h 4034654"/>
              <a:gd name="connsiteX1" fmla="*/ 2324100 w 3692435"/>
              <a:gd name="connsiteY1" fmla="*/ 2124891 h 4034654"/>
              <a:gd name="connsiteX2" fmla="*/ 2324100 w 3692435"/>
              <a:gd name="connsiteY2" fmla="*/ 4034654 h 4034654"/>
              <a:gd name="connsiteX3" fmla="*/ 0 w 3692435"/>
              <a:gd name="connsiteY3" fmla="*/ 4034654 h 4034654"/>
              <a:gd name="connsiteX4" fmla="*/ 3692435 w 3692435"/>
              <a:gd name="connsiteY4" fmla="*/ 0 h 4034654"/>
              <a:gd name="connsiteX0" fmla="*/ 3692435 w 5737860"/>
              <a:gd name="connsiteY0" fmla="*/ 0 h 4034654"/>
              <a:gd name="connsiteX1" fmla="*/ 5737860 w 5737860"/>
              <a:gd name="connsiteY1" fmla="*/ 3614056 h 4034654"/>
              <a:gd name="connsiteX2" fmla="*/ 2324100 w 5737860"/>
              <a:gd name="connsiteY2" fmla="*/ 4034654 h 4034654"/>
              <a:gd name="connsiteX3" fmla="*/ 0 w 5737860"/>
              <a:gd name="connsiteY3" fmla="*/ 4034654 h 4034654"/>
              <a:gd name="connsiteX4" fmla="*/ 3692435 w 5737860"/>
              <a:gd name="connsiteY4" fmla="*/ 0 h 4034654"/>
              <a:gd name="connsiteX0" fmla="*/ 3692435 w 5737860"/>
              <a:gd name="connsiteY0" fmla="*/ 8710 h 4043364"/>
              <a:gd name="connsiteX1" fmla="*/ 5737860 w 5737860"/>
              <a:gd name="connsiteY1" fmla="*/ 0 h 4043364"/>
              <a:gd name="connsiteX2" fmla="*/ 2324100 w 5737860"/>
              <a:gd name="connsiteY2" fmla="*/ 4043364 h 4043364"/>
              <a:gd name="connsiteX3" fmla="*/ 0 w 5737860"/>
              <a:gd name="connsiteY3" fmla="*/ 4043364 h 4043364"/>
              <a:gd name="connsiteX4" fmla="*/ 3692435 w 5737860"/>
              <a:gd name="connsiteY4" fmla="*/ 8710 h 4043364"/>
              <a:gd name="connsiteX0" fmla="*/ 3692435 w 5755277"/>
              <a:gd name="connsiteY0" fmla="*/ 8710 h 4043364"/>
              <a:gd name="connsiteX1" fmla="*/ 5737860 w 5755277"/>
              <a:gd name="connsiteY1" fmla="*/ 0 h 4043364"/>
              <a:gd name="connsiteX2" fmla="*/ 5755277 w 5755277"/>
              <a:gd name="connsiteY2" fmla="*/ 3625352 h 4043364"/>
              <a:gd name="connsiteX3" fmla="*/ 0 w 5755277"/>
              <a:gd name="connsiteY3" fmla="*/ 4043364 h 4043364"/>
              <a:gd name="connsiteX4" fmla="*/ 3692435 w 5755277"/>
              <a:gd name="connsiteY4" fmla="*/ 8710 h 4043364"/>
              <a:gd name="connsiteX0" fmla="*/ 5233852 w 7296694"/>
              <a:gd name="connsiteY0" fmla="*/ 8710 h 3642770"/>
              <a:gd name="connsiteX1" fmla="*/ 7279277 w 7296694"/>
              <a:gd name="connsiteY1" fmla="*/ 0 h 3642770"/>
              <a:gd name="connsiteX2" fmla="*/ 7296694 w 7296694"/>
              <a:gd name="connsiteY2" fmla="*/ 3625352 h 3642770"/>
              <a:gd name="connsiteX3" fmla="*/ 0 w 7296694"/>
              <a:gd name="connsiteY3" fmla="*/ 3642770 h 3642770"/>
              <a:gd name="connsiteX4" fmla="*/ 5233852 w 7296694"/>
              <a:gd name="connsiteY4" fmla="*/ 8710 h 3642770"/>
              <a:gd name="connsiteX0" fmla="*/ 5233852 w 7305402"/>
              <a:gd name="connsiteY0" fmla="*/ 8710 h 3642770"/>
              <a:gd name="connsiteX1" fmla="*/ 7279277 w 7305402"/>
              <a:gd name="connsiteY1" fmla="*/ 0 h 3642770"/>
              <a:gd name="connsiteX2" fmla="*/ 7305402 w 7305402"/>
              <a:gd name="connsiteY2" fmla="*/ 3634060 h 3642770"/>
              <a:gd name="connsiteX3" fmla="*/ 0 w 7305402"/>
              <a:gd name="connsiteY3" fmla="*/ 3642770 h 3642770"/>
              <a:gd name="connsiteX4" fmla="*/ 5233852 w 7305402"/>
              <a:gd name="connsiteY4" fmla="*/ 8710 h 3642770"/>
              <a:gd name="connsiteX0" fmla="*/ 5233852 w 7305402"/>
              <a:gd name="connsiteY0" fmla="*/ 8710 h 3635626"/>
              <a:gd name="connsiteX1" fmla="*/ 7279277 w 7305402"/>
              <a:gd name="connsiteY1" fmla="*/ 0 h 3635626"/>
              <a:gd name="connsiteX2" fmla="*/ 7305402 w 7305402"/>
              <a:gd name="connsiteY2" fmla="*/ 3634060 h 3635626"/>
              <a:gd name="connsiteX3" fmla="*/ 0 w 7305402"/>
              <a:gd name="connsiteY3" fmla="*/ 3635626 h 3635626"/>
              <a:gd name="connsiteX4" fmla="*/ 5233852 w 7305402"/>
              <a:gd name="connsiteY4" fmla="*/ 8710 h 363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5402" h="3635626">
                <a:moveTo>
                  <a:pt x="5233852" y="8710"/>
                </a:moveTo>
                <a:lnTo>
                  <a:pt x="7279277" y="0"/>
                </a:lnTo>
                <a:cubicBezTo>
                  <a:pt x="7285083" y="1208451"/>
                  <a:pt x="7299596" y="2425609"/>
                  <a:pt x="7305402" y="3634060"/>
                </a:cubicBezTo>
                <a:lnTo>
                  <a:pt x="0" y="3635626"/>
                </a:lnTo>
                <a:lnTo>
                  <a:pt x="5233852" y="8710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vert="horz" lIns="91440" tIns="45720" rIns="91440" bIns="45720" numCol="1" rtlCol="0" anchor="ctr">
            <a:normAutofit/>
          </a:bodyPr>
          <a:lstStyle>
            <a:lvl1pPr>
              <a:defRPr lang="nl-BE" dirty="0">
                <a:solidFill>
                  <a:srgbClr val="0070C0"/>
                </a:solidFill>
              </a:defRPr>
            </a:lvl1pPr>
          </a:lstStyle>
          <a:p>
            <a:pPr marL="0" lvl="0" indent="0" algn="ctr">
              <a:buNone/>
            </a:pPr>
            <a:r>
              <a:rPr lang="nl-BE" dirty="0"/>
              <a:t>Click to</a:t>
            </a:r>
          </a:p>
          <a:p>
            <a:pPr marL="0" lvl="0" indent="0" algn="ctr">
              <a:buNone/>
            </a:pPr>
            <a:r>
              <a:rPr lang="nl-BE" dirty="0"/>
              <a:t>add a picture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4134" y="1563661"/>
            <a:ext cx="3340220" cy="1113523"/>
          </a:xfrm>
        </p:spPr>
        <p:txBody>
          <a:bodyPr>
            <a:normAutofit/>
          </a:bodyPr>
          <a:lstStyle>
            <a:lvl1pPr marL="0" indent="0" algn="l">
              <a:spcBef>
                <a:spcPts val="800"/>
              </a:spcBef>
              <a:spcAft>
                <a:spcPts val="800"/>
              </a:spcAft>
              <a:buSzPct val="100000"/>
              <a:buFont typeface="+mj-lt"/>
              <a:buNone/>
              <a:defRPr sz="1600" baseline="0">
                <a:solidFill>
                  <a:schemeClr val="accent2"/>
                </a:solidFill>
              </a:defRPr>
            </a:lvl1pPr>
            <a:lvl2pPr marL="608013" indent="-3429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400"/>
            </a:lvl2pPr>
            <a:lvl3pPr marL="768350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200"/>
            </a:lvl3pPr>
            <a:lvl4pPr marL="944562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100"/>
            </a:lvl4pPr>
          </a:lstStyle>
          <a:p>
            <a:pPr lvl="0"/>
            <a:r>
              <a:rPr lang="en-US" dirty="0"/>
              <a:t>Add a subtitle</a:t>
            </a:r>
          </a:p>
        </p:txBody>
      </p:sp>
    </p:spTree>
    <p:extLst>
      <p:ext uri="{BB962C8B-B14F-4D97-AF65-F5344CB8AC3E}">
        <p14:creationId xmlns:p14="http://schemas.microsoft.com/office/powerpoint/2010/main" val="215507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706411"/>
            <a:ext cx="4167536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4063845" y="627123"/>
            <a:ext cx="5080155" cy="4516377"/>
          </a:xfrm>
          <a:custGeom>
            <a:avLst/>
            <a:gdLst>
              <a:gd name="connsiteX0" fmla="*/ 0 w 4502331"/>
              <a:gd name="connsiteY0" fmla="*/ 0 h 5143500"/>
              <a:gd name="connsiteX1" fmla="*/ 4502331 w 4502331"/>
              <a:gd name="connsiteY1" fmla="*/ 0 h 5143500"/>
              <a:gd name="connsiteX2" fmla="*/ 4502331 w 4502331"/>
              <a:gd name="connsiteY2" fmla="*/ 5143500 h 5143500"/>
              <a:gd name="connsiteX3" fmla="*/ 0 w 4502331"/>
              <a:gd name="connsiteY3" fmla="*/ 5143500 h 5143500"/>
              <a:gd name="connsiteX4" fmla="*/ 0 w 4502331"/>
              <a:gd name="connsiteY4" fmla="*/ 0 h 5143500"/>
              <a:gd name="connsiteX0" fmla="*/ 1045028 w 4502331"/>
              <a:gd name="connsiteY0" fmla="*/ 0 h 5152209"/>
              <a:gd name="connsiteX1" fmla="*/ 4502331 w 4502331"/>
              <a:gd name="connsiteY1" fmla="*/ 8709 h 5152209"/>
              <a:gd name="connsiteX2" fmla="*/ 4502331 w 4502331"/>
              <a:gd name="connsiteY2" fmla="*/ 5152209 h 5152209"/>
              <a:gd name="connsiteX3" fmla="*/ 0 w 4502331"/>
              <a:gd name="connsiteY3" fmla="*/ 5152209 h 5152209"/>
              <a:gd name="connsiteX4" fmla="*/ 1045028 w 4502331"/>
              <a:gd name="connsiteY4" fmla="*/ 0 h 5152209"/>
              <a:gd name="connsiteX0" fmla="*/ 0 w 4502331"/>
              <a:gd name="connsiteY0" fmla="*/ 5143500 h 5143500"/>
              <a:gd name="connsiteX1" fmla="*/ 4502331 w 4502331"/>
              <a:gd name="connsiteY1" fmla="*/ 0 h 5143500"/>
              <a:gd name="connsiteX2" fmla="*/ 4502331 w 4502331"/>
              <a:gd name="connsiteY2" fmla="*/ 5143500 h 5143500"/>
              <a:gd name="connsiteX3" fmla="*/ 0 w 4502331"/>
              <a:gd name="connsiteY3" fmla="*/ 5143500 h 5143500"/>
              <a:gd name="connsiteX0" fmla="*/ 0 w 4502331"/>
              <a:gd name="connsiteY0" fmla="*/ 4002678 h 4002678"/>
              <a:gd name="connsiteX1" fmla="*/ 4502331 w 4502331"/>
              <a:gd name="connsiteY1" fmla="*/ 0 h 4002678"/>
              <a:gd name="connsiteX2" fmla="*/ 4502331 w 4502331"/>
              <a:gd name="connsiteY2" fmla="*/ 4002678 h 4002678"/>
              <a:gd name="connsiteX3" fmla="*/ 0 w 4502331"/>
              <a:gd name="connsiteY3" fmla="*/ 4002678 h 4002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2331" h="4002678">
                <a:moveTo>
                  <a:pt x="0" y="4002678"/>
                </a:moveTo>
                <a:lnTo>
                  <a:pt x="4502331" y="0"/>
                </a:lnTo>
                <a:lnTo>
                  <a:pt x="4502331" y="4002678"/>
                </a:lnTo>
                <a:lnTo>
                  <a:pt x="0" y="4002678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vert="horz" lIns="91440" tIns="45720" rIns="91440" bIns="45720" numCol="1" rtlCol="0" anchor="ctr">
            <a:normAutofit/>
          </a:bodyPr>
          <a:lstStyle>
            <a:lvl1pPr>
              <a:defRPr lang="nl-BE" dirty="0">
                <a:solidFill>
                  <a:srgbClr val="0070C0"/>
                </a:solidFill>
              </a:defRPr>
            </a:lvl1pPr>
          </a:lstStyle>
          <a:p>
            <a:pPr marL="0" lvl="0" indent="0" algn="ctr">
              <a:buNone/>
            </a:pPr>
            <a:r>
              <a:rPr lang="nl-BE" dirty="0"/>
              <a:t>Add a picture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4134" y="1563661"/>
            <a:ext cx="3340220" cy="1113523"/>
          </a:xfrm>
        </p:spPr>
        <p:txBody>
          <a:bodyPr>
            <a:normAutofit/>
          </a:bodyPr>
          <a:lstStyle>
            <a:lvl1pPr marL="0" indent="0" algn="l">
              <a:spcBef>
                <a:spcPts val="800"/>
              </a:spcBef>
              <a:spcAft>
                <a:spcPts val="800"/>
              </a:spcAft>
              <a:buSzPct val="100000"/>
              <a:buFont typeface="+mj-lt"/>
              <a:buNone/>
              <a:defRPr sz="1600" baseline="0">
                <a:solidFill>
                  <a:schemeClr val="accent2"/>
                </a:solidFill>
              </a:defRPr>
            </a:lvl1pPr>
            <a:lvl2pPr marL="608013" indent="-3429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400"/>
            </a:lvl2pPr>
            <a:lvl3pPr marL="768350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200"/>
            </a:lvl3pPr>
            <a:lvl4pPr marL="944562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100"/>
            </a:lvl4pPr>
          </a:lstStyle>
          <a:p>
            <a:pPr lvl="0"/>
            <a:r>
              <a:rPr lang="en-US" dirty="0"/>
              <a:t>Add a subtitle</a:t>
            </a: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1576251" y="3325478"/>
            <a:ext cx="4230189" cy="1837116"/>
          </a:xfrm>
          <a:custGeom>
            <a:avLst/>
            <a:gdLst>
              <a:gd name="connsiteX0" fmla="*/ 0 w 4502331"/>
              <a:gd name="connsiteY0" fmla="*/ 0 h 5143500"/>
              <a:gd name="connsiteX1" fmla="*/ 4502331 w 4502331"/>
              <a:gd name="connsiteY1" fmla="*/ 0 h 5143500"/>
              <a:gd name="connsiteX2" fmla="*/ 4502331 w 4502331"/>
              <a:gd name="connsiteY2" fmla="*/ 5143500 h 5143500"/>
              <a:gd name="connsiteX3" fmla="*/ 0 w 4502331"/>
              <a:gd name="connsiteY3" fmla="*/ 5143500 h 5143500"/>
              <a:gd name="connsiteX4" fmla="*/ 0 w 4502331"/>
              <a:gd name="connsiteY4" fmla="*/ 0 h 5143500"/>
              <a:gd name="connsiteX0" fmla="*/ 1045028 w 4502331"/>
              <a:gd name="connsiteY0" fmla="*/ 0 h 5152209"/>
              <a:gd name="connsiteX1" fmla="*/ 4502331 w 4502331"/>
              <a:gd name="connsiteY1" fmla="*/ 8709 h 5152209"/>
              <a:gd name="connsiteX2" fmla="*/ 4502331 w 4502331"/>
              <a:gd name="connsiteY2" fmla="*/ 5152209 h 5152209"/>
              <a:gd name="connsiteX3" fmla="*/ 0 w 4502331"/>
              <a:gd name="connsiteY3" fmla="*/ 5152209 h 5152209"/>
              <a:gd name="connsiteX4" fmla="*/ 1045028 w 4502331"/>
              <a:gd name="connsiteY4" fmla="*/ 0 h 5152209"/>
              <a:gd name="connsiteX0" fmla="*/ 0 w 4502331"/>
              <a:gd name="connsiteY0" fmla="*/ 5143500 h 5143500"/>
              <a:gd name="connsiteX1" fmla="*/ 4502331 w 4502331"/>
              <a:gd name="connsiteY1" fmla="*/ 0 h 5143500"/>
              <a:gd name="connsiteX2" fmla="*/ 4502331 w 4502331"/>
              <a:gd name="connsiteY2" fmla="*/ 5143500 h 5143500"/>
              <a:gd name="connsiteX3" fmla="*/ 0 w 4502331"/>
              <a:gd name="connsiteY3" fmla="*/ 5143500 h 5143500"/>
              <a:gd name="connsiteX0" fmla="*/ 0 w 4502331"/>
              <a:gd name="connsiteY0" fmla="*/ 4002678 h 4002678"/>
              <a:gd name="connsiteX1" fmla="*/ 4502331 w 4502331"/>
              <a:gd name="connsiteY1" fmla="*/ 0 h 4002678"/>
              <a:gd name="connsiteX2" fmla="*/ 4502331 w 4502331"/>
              <a:gd name="connsiteY2" fmla="*/ 4002678 h 4002678"/>
              <a:gd name="connsiteX3" fmla="*/ 0 w 4502331"/>
              <a:gd name="connsiteY3" fmla="*/ 4002678 h 4002678"/>
              <a:gd name="connsiteX0" fmla="*/ 1968138 w 6470469"/>
              <a:gd name="connsiteY0" fmla="*/ 4002678 h 4020095"/>
              <a:gd name="connsiteX1" fmla="*/ 6470469 w 6470469"/>
              <a:gd name="connsiteY1" fmla="*/ 0 h 4020095"/>
              <a:gd name="connsiteX2" fmla="*/ 0 w 6470469"/>
              <a:gd name="connsiteY2" fmla="*/ 4020095 h 4020095"/>
              <a:gd name="connsiteX3" fmla="*/ 1968138 w 6470469"/>
              <a:gd name="connsiteY3" fmla="*/ 4002678 h 4020095"/>
              <a:gd name="connsiteX0" fmla="*/ 1968138 w 6470469"/>
              <a:gd name="connsiteY0" fmla="*/ 4002678 h 4020095"/>
              <a:gd name="connsiteX1" fmla="*/ 3749041 w 6470469"/>
              <a:gd name="connsiteY1" fmla="*/ 2391935 h 4020095"/>
              <a:gd name="connsiteX2" fmla="*/ 6470469 w 6470469"/>
              <a:gd name="connsiteY2" fmla="*/ 0 h 4020095"/>
              <a:gd name="connsiteX3" fmla="*/ 0 w 6470469"/>
              <a:gd name="connsiteY3" fmla="*/ 4020095 h 4020095"/>
              <a:gd name="connsiteX4" fmla="*/ 1968138 w 6470469"/>
              <a:gd name="connsiteY4" fmla="*/ 4002678 h 4020095"/>
              <a:gd name="connsiteX0" fmla="*/ 1968138 w 3749041"/>
              <a:gd name="connsiteY0" fmla="*/ 1610743 h 1628160"/>
              <a:gd name="connsiteX1" fmla="*/ 3749041 w 3749041"/>
              <a:gd name="connsiteY1" fmla="*/ 0 h 1628160"/>
              <a:gd name="connsiteX2" fmla="*/ 1924595 w 3749041"/>
              <a:gd name="connsiteY2" fmla="*/ 46465 h 1628160"/>
              <a:gd name="connsiteX3" fmla="*/ 0 w 3749041"/>
              <a:gd name="connsiteY3" fmla="*/ 1628160 h 1628160"/>
              <a:gd name="connsiteX4" fmla="*/ 1968138 w 3749041"/>
              <a:gd name="connsiteY4" fmla="*/ 1610743 h 162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9041" h="1628160">
                <a:moveTo>
                  <a:pt x="1968138" y="1610743"/>
                </a:moveTo>
                <a:lnTo>
                  <a:pt x="3749041" y="0"/>
                </a:lnTo>
                <a:lnTo>
                  <a:pt x="1924595" y="46465"/>
                </a:lnTo>
                <a:lnTo>
                  <a:pt x="0" y="1628160"/>
                </a:lnTo>
                <a:lnTo>
                  <a:pt x="1968138" y="1610743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vert="horz" lIns="91440" tIns="45720" rIns="91440" bIns="45720" numCol="1" rtlCol="0" anchor="ctr">
            <a:normAutofit/>
          </a:bodyPr>
          <a:lstStyle>
            <a:lvl1pPr>
              <a:defRPr lang="nl-BE" dirty="0">
                <a:solidFill>
                  <a:srgbClr val="0070C0"/>
                </a:solidFill>
              </a:defRPr>
            </a:lvl1pPr>
          </a:lstStyle>
          <a:p>
            <a:pPr marL="0" lvl="0" indent="0" algn="ctr">
              <a:buNone/>
            </a:pPr>
            <a:r>
              <a:rPr lang="nl-BE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2724369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0" y="3578996"/>
            <a:ext cx="9144000" cy="1573213"/>
          </a:xfrm>
          <a:blipFill rotWithShape="1"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1669" y="1263409"/>
            <a:ext cx="4167536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41670" y="2120659"/>
            <a:ext cx="3340220" cy="1113523"/>
          </a:xfrm>
        </p:spPr>
        <p:txBody>
          <a:bodyPr>
            <a:normAutofit/>
          </a:bodyPr>
          <a:lstStyle>
            <a:lvl1pPr marL="0" indent="0" algn="l">
              <a:spcBef>
                <a:spcPts val="800"/>
              </a:spcBef>
              <a:spcAft>
                <a:spcPts val="800"/>
              </a:spcAft>
              <a:buSzPct val="100000"/>
              <a:buFont typeface="+mj-lt"/>
              <a:buNone/>
              <a:defRPr sz="1600" baseline="0">
                <a:solidFill>
                  <a:schemeClr val="accent2"/>
                </a:solidFill>
              </a:defRPr>
            </a:lvl1pPr>
            <a:lvl2pPr marL="608013" indent="-3429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400"/>
            </a:lvl2pPr>
            <a:lvl3pPr marL="768350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200"/>
            </a:lvl3pPr>
            <a:lvl4pPr marL="944562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100"/>
            </a:lvl4pPr>
          </a:lstStyle>
          <a:p>
            <a:pPr lvl="0"/>
            <a:r>
              <a:rPr lang="en-US" dirty="0"/>
              <a:t>Add a subtitl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-17417" y="-26125"/>
            <a:ext cx="4145280" cy="4873533"/>
          </a:xfrm>
          <a:custGeom>
            <a:avLst/>
            <a:gdLst>
              <a:gd name="connsiteX0" fmla="*/ 0 w 4502331"/>
              <a:gd name="connsiteY0" fmla="*/ 0 h 5143500"/>
              <a:gd name="connsiteX1" fmla="*/ 4502331 w 4502331"/>
              <a:gd name="connsiteY1" fmla="*/ 0 h 5143500"/>
              <a:gd name="connsiteX2" fmla="*/ 4502331 w 4502331"/>
              <a:gd name="connsiteY2" fmla="*/ 5143500 h 5143500"/>
              <a:gd name="connsiteX3" fmla="*/ 0 w 4502331"/>
              <a:gd name="connsiteY3" fmla="*/ 5143500 h 5143500"/>
              <a:gd name="connsiteX4" fmla="*/ 0 w 4502331"/>
              <a:gd name="connsiteY4" fmla="*/ 0 h 5143500"/>
              <a:gd name="connsiteX0" fmla="*/ 1045028 w 4502331"/>
              <a:gd name="connsiteY0" fmla="*/ 0 h 5152209"/>
              <a:gd name="connsiteX1" fmla="*/ 4502331 w 4502331"/>
              <a:gd name="connsiteY1" fmla="*/ 8709 h 5152209"/>
              <a:gd name="connsiteX2" fmla="*/ 4502331 w 4502331"/>
              <a:gd name="connsiteY2" fmla="*/ 5152209 h 5152209"/>
              <a:gd name="connsiteX3" fmla="*/ 0 w 4502331"/>
              <a:gd name="connsiteY3" fmla="*/ 5152209 h 5152209"/>
              <a:gd name="connsiteX4" fmla="*/ 1045028 w 4502331"/>
              <a:gd name="connsiteY4" fmla="*/ 0 h 5152209"/>
              <a:gd name="connsiteX0" fmla="*/ 0 w 4589417"/>
              <a:gd name="connsiteY0" fmla="*/ 0 h 5169626"/>
              <a:gd name="connsiteX1" fmla="*/ 4589417 w 4589417"/>
              <a:gd name="connsiteY1" fmla="*/ 26126 h 5169626"/>
              <a:gd name="connsiteX2" fmla="*/ 4589417 w 4589417"/>
              <a:gd name="connsiteY2" fmla="*/ 5169626 h 5169626"/>
              <a:gd name="connsiteX3" fmla="*/ 87086 w 4589417"/>
              <a:gd name="connsiteY3" fmla="*/ 5169626 h 5169626"/>
              <a:gd name="connsiteX4" fmla="*/ 0 w 4589417"/>
              <a:gd name="connsiteY4" fmla="*/ 0 h 5169626"/>
              <a:gd name="connsiteX0" fmla="*/ 0 w 4589417"/>
              <a:gd name="connsiteY0" fmla="*/ 0 h 5169626"/>
              <a:gd name="connsiteX1" fmla="*/ 4589417 w 4589417"/>
              <a:gd name="connsiteY1" fmla="*/ 26126 h 5169626"/>
              <a:gd name="connsiteX2" fmla="*/ 4589417 w 4589417"/>
              <a:gd name="connsiteY2" fmla="*/ 5169626 h 5169626"/>
              <a:gd name="connsiteX3" fmla="*/ 0 w 4589417"/>
              <a:gd name="connsiteY3" fmla="*/ 4864826 h 5169626"/>
              <a:gd name="connsiteX4" fmla="*/ 0 w 4589417"/>
              <a:gd name="connsiteY4" fmla="*/ 0 h 5169626"/>
              <a:gd name="connsiteX0" fmla="*/ 0 w 4589417"/>
              <a:gd name="connsiteY0" fmla="*/ 0 h 4864826"/>
              <a:gd name="connsiteX1" fmla="*/ 4589417 w 4589417"/>
              <a:gd name="connsiteY1" fmla="*/ 26126 h 4864826"/>
              <a:gd name="connsiteX2" fmla="*/ 4528457 w 4589417"/>
              <a:gd name="connsiteY2" fmla="*/ 4237809 h 4864826"/>
              <a:gd name="connsiteX3" fmla="*/ 0 w 4589417"/>
              <a:gd name="connsiteY3" fmla="*/ 4864826 h 4864826"/>
              <a:gd name="connsiteX4" fmla="*/ 0 w 4589417"/>
              <a:gd name="connsiteY4" fmla="*/ 0 h 4864826"/>
              <a:gd name="connsiteX0" fmla="*/ 0 w 4528457"/>
              <a:gd name="connsiteY0" fmla="*/ 0 h 4864826"/>
              <a:gd name="connsiteX1" fmla="*/ 3770811 w 4528457"/>
              <a:gd name="connsiteY1" fmla="*/ 17418 h 4864826"/>
              <a:gd name="connsiteX2" fmla="*/ 4528457 w 4528457"/>
              <a:gd name="connsiteY2" fmla="*/ 4237809 h 4864826"/>
              <a:gd name="connsiteX3" fmla="*/ 0 w 4528457"/>
              <a:gd name="connsiteY3" fmla="*/ 4864826 h 4864826"/>
              <a:gd name="connsiteX4" fmla="*/ 0 w 4528457"/>
              <a:gd name="connsiteY4" fmla="*/ 0 h 4864826"/>
              <a:gd name="connsiteX0" fmla="*/ 0 w 4528457"/>
              <a:gd name="connsiteY0" fmla="*/ 0 h 4864826"/>
              <a:gd name="connsiteX1" fmla="*/ 3352799 w 4528457"/>
              <a:gd name="connsiteY1" fmla="*/ 8710 h 4864826"/>
              <a:gd name="connsiteX2" fmla="*/ 4528457 w 4528457"/>
              <a:gd name="connsiteY2" fmla="*/ 4237809 h 4864826"/>
              <a:gd name="connsiteX3" fmla="*/ 0 w 4528457"/>
              <a:gd name="connsiteY3" fmla="*/ 4864826 h 4864826"/>
              <a:gd name="connsiteX4" fmla="*/ 0 w 4528457"/>
              <a:gd name="connsiteY4" fmla="*/ 0 h 4864826"/>
              <a:gd name="connsiteX0" fmla="*/ 0 w 3901440"/>
              <a:gd name="connsiteY0" fmla="*/ 0 h 4864826"/>
              <a:gd name="connsiteX1" fmla="*/ 3352799 w 3901440"/>
              <a:gd name="connsiteY1" fmla="*/ 8710 h 4864826"/>
              <a:gd name="connsiteX2" fmla="*/ 3901440 w 3901440"/>
              <a:gd name="connsiteY2" fmla="*/ 4316186 h 4864826"/>
              <a:gd name="connsiteX3" fmla="*/ 0 w 3901440"/>
              <a:gd name="connsiteY3" fmla="*/ 4864826 h 4864826"/>
              <a:gd name="connsiteX4" fmla="*/ 0 w 3901440"/>
              <a:gd name="connsiteY4" fmla="*/ 0 h 4864826"/>
              <a:gd name="connsiteX0" fmla="*/ 0 w 3901440"/>
              <a:gd name="connsiteY0" fmla="*/ 0 h 4864826"/>
              <a:gd name="connsiteX1" fmla="*/ 2899953 w 3901440"/>
              <a:gd name="connsiteY1" fmla="*/ 8710 h 4864826"/>
              <a:gd name="connsiteX2" fmla="*/ 3901440 w 3901440"/>
              <a:gd name="connsiteY2" fmla="*/ 4316186 h 4864826"/>
              <a:gd name="connsiteX3" fmla="*/ 0 w 3901440"/>
              <a:gd name="connsiteY3" fmla="*/ 4864826 h 4864826"/>
              <a:gd name="connsiteX4" fmla="*/ 0 w 3901440"/>
              <a:gd name="connsiteY4" fmla="*/ 0 h 4864826"/>
              <a:gd name="connsiteX0" fmla="*/ 0 w 4145280"/>
              <a:gd name="connsiteY0" fmla="*/ 0 h 4864826"/>
              <a:gd name="connsiteX1" fmla="*/ 2899953 w 4145280"/>
              <a:gd name="connsiteY1" fmla="*/ 8710 h 4864826"/>
              <a:gd name="connsiteX2" fmla="*/ 4145280 w 4145280"/>
              <a:gd name="connsiteY2" fmla="*/ 4290061 h 4864826"/>
              <a:gd name="connsiteX3" fmla="*/ 0 w 4145280"/>
              <a:gd name="connsiteY3" fmla="*/ 4864826 h 4864826"/>
              <a:gd name="connsiteX4" fmla="*/ 0 w 4145280"/>
              <a:gd name="connsiteY4" fmla="*/ 0 h 4864826"/>
              <a:gd name="connsiteX0" fmla="*/ 0 w 4145280"/>
              <a:gd name="connsiteY0" fmla="*/ 0 h 4864826"/>
              <a:gd name="connsiteX1" fmla="*/ 2987039 w 4145280"/>
              <a:gd name="connsiteY1" fmla="*/ 17418 h 4864826"/>
              <a:gd name="connsiteX2" fmla="*/ 4145280 w 4145280"/>
              <a:gd name="connsiteY2" fmla="*/ 4290061 h 4864826"/>
              <a:gd name="connsiteX3" fmla="*/ 0 w 4145280"/>
              <a:gd name="connsiteY3" fmla="*/ 4864826 h 4864826"/>
              <a:gd name="connsiteX4" fmla="*/ 0 w 4145280"/>
              <a:gd name="connsiteY4" fmla="*/ 0 h 4864826"/>
              <a:gd name="connsiteX0" fmla="*/ 0 w 4145280"/>
              <a:gd name="connsiteY0" fmla="*/ 8707 h 4873533"/>
              <a:gd name="connsiteX1" fmla="*/ 2987039 w 4145280"/>
              <a:gd name="connsiteY1" fmla="*/ 0 h 4873533"/>
              <a:gd name="connsiteX2" fmla="*/ 4145280 w 4145280"/>
              <a:gd name="connsiteY2" fmla="*/ 4298768 h 4873533"/>
              <a:gd name="connsiteX3" fmla="*/ 0 w 4145280"/>
              <a:gd name="connsiteY3" fmla="*/ 4873533 h 4873533"/>
              <a:gd name="connsiteX4" fmla="*/ 0 w 4145280"/>
              <a:gd name="connsiteY4" fmla="*/ 8707 h 4873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5280" h="4873533">
                <a:moveTo>
                  <a:pt x="0" y="8707"/>
                </a:moveTo>
                <a:lnTo>
                  <a:pt x="2987039" y="0"/>
                </a:lnTo>
                <a:lnTo>
                  <a:pt x="4145280" y="4298768"/>
                </a:lnTo>
                <a:lnTo>
                  <a:pt x="0" y="4873533"/>
                </a:lnTo>
                <a:lnTo>
                  <a:pt x="0" y="8707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994271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0" y="3578996"/>
            <a:ext cx="9144000" cy="1573213"/>
          </a:xfrm>
          <a:blipFill rotWithShape="1"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1303299"/>
            <a:ext cx="2778034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nl-BE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304801" y="2160549"/>
            <a:ext cx="2708365" cy="1113523"/>
          </a:xfrm>
        </p:spPr>
        <p:txBody>
          <a:bodyPr>
            <a:noAutofit/>
          </a:bodyPr>
          <a:lstStyle>
            <a:lvl1pPr marL="0" indent="0" algn="l">
              <a:spcBef>
                <a:spcPts val="800"/>
              </a:spcBef>
              <a:spcAft>
                <a:spcPts val="800"/>
              </a:spcAft>
              <a:buSzPct val="100000"/>
              <a:buFont typeface="+mj-lt"/>
              <a:buNone/>
              <a:defRPr lang="nl-BE" sz="1050" b="0" i="0" smtClean="0">
                <a:effectLst/>
              </a:defRPr>
            </a:lvl1pPr>
            <a:lvl2pPr marL="608013" indent="-3429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400"/>
            </a:lvl2pPr>
            <a:lvl3pPr marL="768350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200"/>
            </a:lvl3pPr>
            <a:lvl4pPr marL="944562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100"/>
            </a:lvl4pPr>
          </a:lstStyle>
          <a:p>
            <a:pPr lvl="0"/>
            <a:r>
              <a:rPr lang="nl-BE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dolor sit amet, consectetur adipiscing elit. Phasellus ex felis, luctus ut erat imperdiet, pulvinar ornare dolor. Aliquam erat volutpat. Curabitur auctor accumsan diam</a:t>
            </a:r>
            <a:endParaRPr lang="en-US" dirty="0"/>
          </a:p>
        </p:txBody>
      </p:sp>
      <p:pic>
        <p:nvPicPr>
          <p:cNvPr id="7" name="Picture 6" descr="Materialise_BL_s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4740" y="414447"/>
            <a:ext cx="1181449" cy="583928"/>
          </a:xfrm>
          <a:prstGeom prst="rect">
            <a:avLst/>
          </a:prstGeom>
        </p:spPr>
      </p:pic>
      <p:sp>
        <p:nvSpPr>
          <p:cNvPr id="10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348169" y="-55086"/>
            <a:ext cx="5869576" cy="4194266"/>
          </a:xfrm>
          <a:custGeom>
            <a:avLst/>
            <a:gdLst>
              <a:gd name="connsiteX0" fmla="*/ 0 w 4502331"/>
              <a:gd name="connsiteY0" fmla="*/ 0 h 5143500"/>
              <a:gd name="connsiteX1" fmla="*/ 4502331 w 4502331"/>
              <a:gd name="connsiteY1" fmla="*/ 0 h 5143500"/>
              <a:gd name="connsiteX2" fmla="*/ 4502331 w 4502331"/>
              <a:gd name="connsiteY2" fmla="*/ 5143500 h 5143500"/>
              <a:gd name="connsiteX3" fmla="*/ 0 w 4502331"/>
              <a:gd name="connsiteY3" fmla="*/ 5143500 h 5143500"/>
              <a:gd name="connsiteX4" fmla="*/ 0 w 4502331"/>
              <a:gd name="connsiteY4" fmla="*/ 0 h 5143500"/>
              <a:gd name="connsiteX0" fmla="*/ 1045028 w 4502331"/>
              <a:gd name="connsiteY0" fmla="*/ 0 h 5152209"/>
              <a:gd name="connsiteX1" fmla="*/ 4502331 w 4502331"/>
              <a:gd name="connsiteY1" fmla="*/ 8709 h 5152209"/>
              <a:gd name="connsiteX2" fmla="*/ 4502331 w 4502331"/>
              <a:gd name="connsiteY2" fmla="*/ 5152209 h 5152209"/>
              <a:gd name="connsiteX3" fmla="*/ 0 w 4502331"/>
              <a:gd name="connsiteY3" fmla="*/ 5152209 h 5152209"/>
              <a:gd name="connsiteX4" fmla="*/ 1045028 w 4502331"/>
              <a:gd name="connsiteY4" fmla="*/ 0 h 5152209"/>
              <a:gd name="connsiteX0" fmla="*/ 0 w 4589417"/>
              <a:gd name="connsiteY0" fmla="*/ 0 h 5169626"/>
              <a:gd name="connsiteX1" fmla="*/ 4589417 w 4589417"/>
              <a:gd name="connsiteY1" fmla="*/ 26126 h 5169626"/>
              <a:gd name="connsiteX2" fmla="*/ 4589417 w 4589417"/>
              <a:gd name="connsiteY2" fmla="*/ 5169626 h 5169626"/>
              <a:gd name="connsiteX3" fmla="*/ 87086 w 4589417"/>
              <a:gd name="connsiteY3" fmla="*/ 5169626 h 5169626"/>
              <a:gd name="connsiteX4" fmla="*/ 0 w 4589417"/>
              <a:gd name="connsiteY4" fmla="*/ 0 h 5169626"/>
              <a:gd name="connsiteX0" fmla="*/ 0 w 4589417"/>
              <a:gd name="connsiteY0" fmla="*/ 0 h 5169626"/>
              <a:gd name="connsiteX1" fmla="*/ 4589417 w 4589417"/>
              <a:gd name="connsiteY1" fmla="*/ 26126 h 5169626"/>
              <a:gd name="connsiteX2" fmla="*/ 4589417 w 4589417"/>
              <a:gd name="connsiteY2" fmla="*/ 5169626 h 5169626"/>
              <a:gd name="connsiteX3" fmla="*/ 0 w 4589417"/>
              <a:gd name="connsiteY3" fmla="*/ 4864826 h 5169626"/>
              <a:gd name="connsiteX4" fmla="*/ 0 w 4589417"/>
              <a:gd name="connsiteY4" fmla="*/ 0 h 5169626"/>
              <a:gd name="connsiteX0" fmla="*/ 0 w 4589417"/>
              <a:gd name="connsiteY0" fmla="*/ 0 h 4864826"/>
              <a:gd name="connsiteX1" fmla="*/ 4589417 w 4589417"/>
              <a:gd name="connsiteY1" fmla="*/ 26126 h 4864826"/>
              <a:gd name="connsiteX2" fmla="*/ 4528457 w 4589417"/>
              <a:gd name="connsiteY2" fmla="*/ 4237809 h 4864826"/>
              <a:gd name="connsiteX3" fmla="*/ 0 w 4589417"/>
              <a:gd name="connsiteY3" fmla="*/ 4864826 h 4864826"/>
              <a:gd name="connsiteX4" fmla="*/ 0 w 4589417"/>
              <a:gd name="connsiteY4" fmla="*/ 0 h 4864826"/>
              <a:gd name="connsiteX0" fmla="*/ 0 w 4528457"/>
              <a:gd name="connsiteY0" fmla="*/ 0 h 4864826"/>
              <a:gd name="connsiteX1" fmla="*/ 3770811 w 4528457"/>
              <a:gd name="connsiteY1" fmla="*/ 17418 h 4864826"/>
              <a:gd name="connsiteX2" fmla="*/ 4528457 w 4528457"/>
              <a:gd name="connsiteY2" fmla="*/ 4237809 h 4864826"/>
              <a:gd name="connsiteX3" fmla="*/ 0 w 4528457"/>
              <a:gd name="connsiteY3" fmla="*/ 4864826 h 4864826"/>
              <a:gd name="connsiteX4" fmla="*/ 0 w 4528457"/>
              <a:gd name="connsiteY4" fmla="*/ 0 h 4864826"/>
              <a:gd name="connsiteX0" fmla="*/ 0 w 4528457"/>
              <a:gd name="connsiteY0" fmla="*/ 0 h 4864826"/>
              <a:gd name="connsiteX1" fmla="*/ 3352799 w 4528457"/>
              <a:gd name="connsiteY1" fmla="*/ 8710 h 4864826"/>
              <a:gd name="connsiteX2" fmla="*/ 4528457 w 4528457"/>
              <a:gd name="connsiteY2" fmla="*/ 4237809 h 4864826"/>
              <a:gd name="connsiteX3" fmla="*/ 0 w 4528457"/>
              <a:gd name="connsiteY3" fmla="*/ 4864826 h 4864826"/>
              <a:gd name="connsiteX4" fmla="*/ 0 w 4528457"/>
              <a:gd name="connsiteY4" fmla="*/ 0 h 4864826"/>
              <a:gd name="connsiteX0" fmla="*/ 0 w 3901440"/>
              <a:gd name="connsiteY0" fmla="*/ 0 h 4864826"/>
              <a:gd name="connsiteX1" fmla="*/ 3352799 w 3901440"/>
              <a:gd name="connsiteY1" fmla="*/ 8710 h 4864826"/>
              <a:gd name="connsiteX2" fmla="*/ 3901440 w 3901440"/>
              <a:gd name="connsiteY2" fmla="*/ 4316186 h 4864826"/>
              <a:gd name="connsiteX3" fmla="*/ 0 w 3901440"/>
              <a:gd name="connsiteY3" fmla="*/ 4864826 h 4864826"/>
              <a:gd name="connsiteX4" fmla="*/ 0 w 3901440"/>
              <a:gd name="connsiteY4" fmla="*/ 0 h 4864826"/>
              <a:gd name="connsiteX0" fmla="*/ 0 w 3901440"/>
              <a:gd name="connsiteY0" fmla="*/ 0 h 4864826"/>
              <a:gd name="connsiteX1" fmla="*/ 2899953 w 3901440"/>
              <a:gd name="connsiteY1" fmla="*/ 8710 h 4864826"/>
              <a:gd name="connsiteX2" fmla="*/ 3901440 w 3901440"/>
              <a:gd name="connsiteY2" fmla="*/ 4316186 h 4864826"/>
              <a:gd name="connsiteX3" fmla="*/ 0 w 3901440"/>
              <a:gd name="connsiteY3" fmla="*/ 4864826 h 4864826"/>
              <a:gd name="connsiteX4" fmla="*/ 0 w 3901440"/>
              <a:gd name="connsiteY4" fmla="*/ 0 h 4864826"/>
              <a:gd name="connsiteX0" fmla="*/ 0 w 4145280"/>
              <a:gd name="connsiteY0" fmla="*/ 0 h 4864826"/>
              <a:gd name="connsiteX1" fmla="*/ 2899953 w 4145280"/>
              <a:gd name="connsiteY1" fmla="*/ 8710 h 4864826"/>
              <a:gd name="connsiteX2" fmla="*/ 4145280 w 4145280"/>
              <a:gd name="connsiteY2" fmla="*/ 4290061 h 4864826"/>
              <a:gd name="connsiteX3" fmla="*/ 0 w 4145280"/>
              <a:gd name="connsiteY3" fmla="*/ 4864826 h 4864826"/>
              <a:gd name="connsiteX4" fmla="*/ 0 w 4145280"/>
              <a:gd name="connsiteY4" fmla="*/ 0 h 4864826"/>
              <a:gd name="connsiteX0" fmla="*/ 0 w 4145280"/>
              <a:gd name="connsiteY0" fmla="*/ 0 h 4864826"/>
              <a:gd name="connsiteX1" fmla="*/ 2987039 w 4145280"/>
              <a:gd name="connsiteY1" fmla="*/ 17418 h 4864826"/>
              <a:gd name="connsiteX2" fmla="*/ 4145280 w 4145280"/>
              <a:gd name="connsiteY2" fmla="*/ 4290061 h 4864826"/>
              <a:gd name="connsiteX3" fmla="*/ 0 w 4145280"/>
              <a:gd name="connsiteY3" fmla="*/ 4864826 h 4864826"/>
              <a:gd name="connsiteX4" fmla="*/ 0 w 4145280"/>
              <a:gd name="connsiteY4" fmla="*/ 0 h 4864826"/>
              <a:gd name="connsiteX0" fmla="*/ 0 w 4145280"/>
              <a:gd name="connsiteY0" fmla="*/ 8707 h 4873533"/>
              <a:gd name="connsiteX1" fmla="*/ 2987039 w 4145280"/>
              <a:gd name="connsiteY1" fmla="*/ 0 h 4873533"/>
              <a:gd name="connsiteX2" fmla="*/ 4145280 w 4145280"/>
              <a:gd name="connsiteY2" fmla="*/ 4298768 h 4873533"/>
              <a:gd name="connsiteX3" fmla="*/ 0 w 4145280"/>
              <a:gd name="connsiteY3" fmla="*/ 4873533 h 4873533"/>
              <a:gd name="connsiteX4" fmla="*/ 0 w 4145280"/>
              <a:gd name="connsiteY4" fmla="*/ 8707 h 4873533"/>
              <a:gd name="connsiteX0" fmla="*/ 0 w 5878285"/>
              <a:gd name="connsiteY0" fmla="*/ 0 h 4864826"/>
              <a:gd name="connsiteX1" fmla="*/ 5878285 w 5878285"/>
              <a:gd name="connsiteY1" fmla="*/ 470264 h 4864826"/>
              <a:gd name="connsiteX2" fmla="*/ 4145280 w 5878285"/>
              <a:gd name="connsiteY2" fmla="*/ 4290061 h 4864826"/>
              <a:gd name="connsiteX3" fmla="*/ 0 w 5878285"/>
              <a:gd name="connsiteY3" fmla="*/ 4864826 h 4864826"/>
              <a:gd name="connsiteX4" fmla="*/ 0 w 5878285"/>
              <a:gd name="connsiteY4" fmla="*/ 0 h 4864826"/>
              <a:gd name="connsiteX0" fmla="*/ 0 w 5878285"/>
              <a:gd name="connsiteY0" fmla="*/ 0 h 4864826"/>
              <a:gd name="connsiteX1" fmla="*/ 5878285 w 5878285"/>
              <a:gd name="connsiteY1" fmla="*/ 470264 h 4864826"/>
              <a:gd name="connsiteX2" fmla="*/ 5843451 w 5878285"/>
              <a:gd name="connsiteY2" fmla="*/ 4072346 h 4864826"/>
              <a:gd name="connsiteX3" fmla="*/ 0 w 5878285"/>
              <a:gd name="connsiteY3" fmla="*/ 4864826 h 4864826"/>
              <a:gd name="connsiteX4" fmla="*/ 0 w 5878285"/>
              <a:gd name="connsiteY4" fmla="*/ 0 h 4864826"/>
              <a:gd name="connsiteX0" fmla="*/ 0 w 5878285"/>
              <a:gd name="connsiteY0" fmla="*/ 0 h 4873534"/>
              <a:gd name="connsiteX1" fmla="*/ 5878285 w 5878285"/>
              <a:gd name="connsiteY1" fmla="*/ 470264 h 4873534"/>
              <a:gd name="connsiteX2" fmla="*/ 5843451 w 5878285"/>
              <a:gd name="connsiteY2" fmla="*/ 4072346 h 4873534"/>
              <a:gd name="connsiteX3" fmla="*/ 8708 w 5878285"/>
              <a:gd name="connsiteY3" fmla="*/ 4873534 h 4873534"/>
              <a:gd name="connsiteX4" fmla="*/ 0 w 5878285"/>
              <a:gd name="connsiteY4" fmla="*/ 0 h 4873534"/>
              <a:gd name="connsiteX0" fmla="*/ 17670 w 5869829"/>
              <a:gd name="connsiteY0" fmla="*/ 0 h 4455522"/>
              <a:gd name="connsiteX1" fmla="*/ 5869829 w 5869829"/>
              <a:gd name="connsiteY1" fmla="*/ 52252 h 4455522"/>
              <a:gd name="connsiteX2" fmla="*/ 5834995 w 5869829"/>
              <a:gd name="connsiteY2" fmla="*/ 3654334 h 4455522"/>
              <a:gd name="connsiteX3" fmla="*/ 252 w 5869829"/>
              <a:gd name="connsiteY3" fmla="*/ 4455522 h 4455522"/>
              <a:gd name="connsiteX4" fmla="*/ 17670 w 5869829"/>
              <a:gd name="connsiteY4" fmla="*/ 0 h 4455522"/>
              <a:gd name="connsiteX0" fmla="*/ 17670 w 5869829"/>
              <a:gd name="connsiteY0" fmla="*/ 0 h 4438105"/>
              <a:gd name="connsiteX1" fmla="*/ 5869829 w 5869829"/>
              <a:gd name="connsiteY1" fmla="*/ 34835 h 4438105"/>
              <a:gd name="connsiteX2" fmla="*/ 5834995 w 5869829"/>
              <a:gd name="connsiteY2" fmla="*/ 3636917 h 4438105"/>
              <a:gd name="connsiteX3" fmla="*/ 252 w 5869829"/>
              <a:gd name="connsiteY3" fmla="*/ 4438105 h 4438105"/>
              <a:gd name="connsiteX4" fmla="*/ 17670 w 5869829"/>
              <a:gd name="connsiteY4" fmla="*/ 0 h 4438105"/>
              <a:gd name="connsiteX0" fmla="*/ 838 w 5870414"/>
              <a:gd name="connsiteY0" fmla="*/ 0 h 4429397"/>
              <a:gd name="connsiteX1" fmla="*/ 5870414 w 5870414"/>
              <a:gd name="connsiteY1" fmla="*/ 26127 h 4429397"/>
              <a:gd name="connsiteX2" fmla="*/ 5835580 w 5870414"/>
              <a:gd name="connsiteY2" fmla="*/ 3628209 h 4429397"/>
              <a:gd name="connsiteX3" fmla="*/ 837 w 5870414"/>
              <a:gd name="connsiteY3" fmla="*/ 4429397 h 4429397"/>
              <a:gd name="connsiteX4" fmla="*/ 838 w 5870414"/>
              <a:gd name="connsiteY4" fmla="*/ 0 h 4429397"/>
              <a:gd name="connsiteX0" fmla="*/ 0 w 5869576"/>
              <a:gd name="connsiteY0" fmla="*/ 0 h 4194266"/>
              <a:gd name="connsiteX1" fmla="*/ 5869576 w 5869576"/>
              <a:gd name="connsiteY1" fmla="*/ 26127 h 4194266"/>
              <a:gd name="connsiteX2" fmla="*/ 5834742 w 5869576"/>
              <a:gd name="connsiteY2" fmla="*/ 3628209 h 4194266"/>
              <a:gd name="connsiteX3" fmla="*/ 1689462 w 5869576"/>
              <a:gd name="connsiteY3" fmla="*/ 4194266 h 4194266"/>
              <a:gd name="connsiteX4" fmla="*/ 0 w 5869576"/>
              <a:gd name="connsiteY4" fmla="*/ 0 h 4194266"/>
              <a:gd name="connsiteX0" fmla="*/ 0 w 5869576"/>
              <a:gd name="connsiteY0" fmla="*/ 0 h 4194266"/>
              <a:gd name="connsiteX1" fmla="*/ 5869576 w 5869576"/>
              <a:gd name="connsiteY1" fmla="*/ 26127 h 4194266"/>
              <a:gd name="connsiteX2" fmla="*/ 5834742 w 5869576"/>
              <a:gd name="connsiteY2" fmla="*/ 3628209 h 4194266"/>
              <a:gd name="connsiteX3" fmla="*/ 1689462 w 5869576"/>
              <a:gd name="connsiteY3" fmla="*/ 4194266 h 4194266"/>
              <a:gd name="connsiteX4" fmla="*/ 0 w 5869576"/>
              <a:gd name="connsiteY4" fmla="*/ 0 h 4194266"/>
              <a:gd name="connsiteX0" fmla="*/ 0 w 5869576"/>
              <a:gd name="connsiteY0" fmla="*/ 0 h 4194266"/>
              <a:gd name="connsiteX1" fmla="*/ 5869576 w 5869576"/>
              <a:gd name="connsiteY1" fmla="*/ 26127 h 4194266"/>
              <a:gd name="connsiteX2" fmla="*/ 5834742 w 5869576"/>
              <a:gd name="connsiteY2" fmla="*/ 3628209 h 4194266"/>
              <a:gd name="connsiteX3" fmla="*/ 1689462 w 5869576"/>
              <a:gd name="connsiteY3" fmla="*/ 4194266 h 4194266"/>
              <a:gd name="connsiteX4" fmla="*/ 0 w 5869576"/>
              <a:gd name="connsiteY4" fmla="*/ 0 h 419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9576" h="4194266">
                <a:moveTo>
                  <a:pt x="0" y="0"/>
                </a:moveTo>
                <a:lnTo>
                  <a:pt x="5869576" y="26127"/>
                </a:lnTo>
                <a:lnTo>
                  <a:pt x="5834742" y="3628209"/>
                </a:lnTo>
                <a:lnTo>
                  <a:pt x="1689462" y="4194266"/>
                </a:lnTo>
                <a:lnTo>
                  <a:pt x="0" y="0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34721366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-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2194107"/>
            <a:ext cx="60960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3241662"/>
            <a:ext cx="4201886" cy="165255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4811486" y="3241662"/>
            <a:ext cx="3879668" cy="165255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25535"/>
            <a:ext cx="9144000" cy="2219642"/>
          </a:xfrm>
          <a:custGeom>
            <a:avLst/>
            <a:gdLst>
              <a:gd name="connsiteX0" fmla="*/ 0 w 9144000"/>
              <a:gd name="connsiteY0" fmla="*/ 0 h 2219642"/>
              <a:gd name="connsiteX1" fmla="*/ 9144000 w 9144000"/>
              <a:gd name="connsiteY1" fmla="*/ 0 h 2219642"/>
              <a:gd name="connsiteX2" fmla="*/ 9144000 w 9144000"/>
              <a:gd name="connsiteY2" fmla="*/ 2219642 h 2219642"/>
              <a:gd name="connsiteX3" fmla="*/ 0 w 9144000"/>
              <a:gd name="connsiteY3" fmla="*/ 2219642 h 2219642"/>
              <a:gd name="connsiteX4" fmla="*/ 0 w 9144000"/>
              <a:gd name="connsiteY4" fmla="*/ 0 h 2219642"/>
              <a:gd name="connsiteX0" fmla="*/ 0 w 9144000"/>
              <a:gd name="connsiteY0" fmla="*/ 0 h 2219642"/>
              <a:gd name="connsiteX1" fmla="*/ 9144000 w 9144000"/>
              <a:gd name="connsiteY1" fmla="*/ 0 h 2219642"/>
              <a:gd name="connsiteX2" fmla="*/ 9144000 w 9144000"/>
              <a:gd name="connsiteY2" fmla="*/ 2219642 h 2219642"/>
              <a:gd name="connsiteX3" fmla="*/ 8709 w 9144000"/>
              <a:gd name="connsiteY3" fmla="*/ 1784213 h 2219642"/>
              <a:gd name="connsiteX4" fmla="*/ 0 w 9144000"/>
              <a:gd name="connsiteY4" fmla="*/ 0 h 221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2219642">
                <a:moveTo>
                  <a:pt x="0" y="0"/>
                </a:moveTo>
                <a:lnTo>
                  <a:pt x="9144000" y="0"/>
                </a:lnTo>
                <a:lnTo>
                  <a:pt x="9144000" y="2219642"/>
                </a:lnTo>
                <a:lnTo>
                  <a:pt x="8709" y="1784213"/>
                </a:lnTo>
                <a:lnTo>
                  <a:pt x="0" y="0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38353368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 -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320274"/>
            <a:ext cx="60960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67829"/>
            <a:ext cx="4201886" cy="165255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4811486" y="1367829"/>
            <a:ext cx="3879668" cy="165255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210689"/>
            <a:ext cx="9144000" cy="2219642"/>
          </a:xfrm>
          <a:prstGeom prst="rect">
            <a:avLst/>
          </a:pr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36128908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ext -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320274"/>
            <a:ext cx="4411376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67829"/>
            <a:ext cx="4201886" cy="3221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5033554" y="0"/>
            <a:ext cx="4110446" cy="5143500"/>
          </a:xfrm>
          <a:custGeom>
            <a:avLst/>
            <a:gdLst>
              <a:gd name="connsiteX0" fmla="*/ 0 w 4110446"/>
              <a:gd name="connsiteY0" fmla="*/ 0 h 5143500"/>
              <a:gd name="connsiteX1" fmla="*/ 4110446 w 4110446"/>
              <a:gd name="connsiteY1" fmla="*/ 0 h 5143500"/>
              <a:gd name="connsiteX2" fmla="*/ 4110446 w 4110446"/>
              <a:gd name="connsiteY2" fmla="*/ 5143500 h 5143500"/>
              <a:gd name="connsiteX3" fmla="*/ 0 w 4110446"/>
              <a:gd name="connsiteY3" fmla="*/ 5143500 h 5143500"/>
              <a:gd name="connsiteX4" fmla="*/ 0 w 4110446"/>
              <a:gd name="connsiteY4" fmla="*/ 0 h 5143500"/>
              <a:gd name="connsiteX0" fmla="*/ 1088571 w 4110446"/>
              <a:gd name="connsiteY0" fmla="*/ 0 h 5143500"/>
              <a:gd name="connsiteX1" fmla="*/ 4110446 w 4110446"/>
              <a:gd name="connsiteY1" fmla="*/ 0 h 5143500"/>
              <a:gd name="connsiteX2" fmla="*/ 4110446 w 4110446"/>
              <a:gd name="connsiteY2" fmla="*/ 5143500 h 5143500"/>
              <a:gd name="connsiteX3" fmla="*/ 0 w 4110446"/>
              <a:gd name="connsiteY3" fmla="*/ 5143500 h 5143500"/>
              <a:gd name="connsiteX4" fmla="*/ 1088571 w 4110446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0446" h="5143500">
                <a:moveTo>
                  <a:pt x="1088571" y="0"/>
                </a:moveTo>
                <a:lnTo>
                  <a:pt x="4110446" y="0"/>
                </a:lnTo>
                <a:lnTo>
                  <a:pt x="4110446" y="5143500"/>
                </a:lnTo>
                <a:lnTo>
                  <a:pt x="0" y="5143500"/>
                </a:lnTo>
                <a:lnTo>
                  <a:pt x="1088571" y="0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37231165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 -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3450" y="320274"/>
            <a:ext cx="4411376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3"/>
          </p:nvPr>
        </p:nvSpPr>
        <p:spPr>
          <a:xfrm>
            <a:off x="4466517" y="1367829"/>
            <a:ext cx="4201886" cy="3221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110446" cy="5143500"/>
          </a:xfrm>
          <a:custGeom>
            <a:avLst/>
            <a:gdLst>
              <a:gd name="connsiteX0" fmla="*/ 0 w 4110446"/>
              <a:gd name="connsiteY0" fmla="*/ 0 h 5143500"/>
              <a:gd name="connsiteX1" fmla="*/ 4110446 w 4110446"/>
              <a:gd name="connsiteY1" fmla="*/ 0 h 5143500"/>
              <a:gd name="connsiteX2" fmla="*/ 4110446 w 4110446"/>
              <a:gd name="connsiteY2" fmla="*/ 5143500 h 5143500"/>
              <a:gd name="connsiteX3" fmla="*/ 0 w 4110446"/>
              <a:gd name="connsiteY3" fmla="*/ 5143500 h 5143500"/>
              <a:gd name="connsiteX4" fmla="*/ 0 w 4110446"/>
              <a:gd name="connsiteY4" fmla="*/ 0 h 5143500"/>
              <a:gd name="connsiteX0" fmla="*/ 0 w 4110446"/>
              <a:gd name="connsiteY0" fmla="*/ 8709 h 5152209"/>
              <a:gd name="connsiteX1" fmla="*/ 3631474 w 4110446"/>
              <a:gd name="connsiteY1" fmla="*/ 0 h 5152209"/>
              <a:gd name="connsiteX2" fmla="*/ 4110446 w 4110446"/>
              <a:gd name="connsiteY2" fmla="*/ 5152209 h 5152209"/>
              <a:gd name="connsiteX3" fmla="*/ 0 w 4110446"/>
              <a:gd name="connsiteY3" fmla="*/ 5152209 h 5152209"/>
              <a:gd name="connsiteX4" fmla="*/ 0 w 4110446"/>
              <a:gd name="connsiteY4" fmla="*/ 8709 h 5152209"/>
              <a:gd name="connsiteX0" fmla="*/ 0 w 4110446"/>
              <a:gd name="connsiteY0" fmla="*/ 0 h 5143500"/>
              <a:gd name="connsiteX1" fmla="*/ 3500845 w 4110446"/>
              <a:gd name="connsiteY1" fmla="*/ 0 h 5143500"/>
              <a:gd name="connsiteX2" fmla="*/ 4110446 w 4110446"/>
              <a:gd name="connsiteY2" fmla="*/ 5143500 h 5143500"/>
              <a:gd name="connsiteX3" fmla="*/ 0 w 4110446"/>
              <a:gd name="connsiteY3" fmla="*/ 5143500 h 5143500"/>
              <a:gd name="connsiteX4" fmla="*/ 0 w 4110446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0446" h="5143500">
                <a:moveTo>
                  <a:pt x="0" y="0"/>
                </a:moveTo>
                <a:lnTo>
                  <a:pt x="3500845" y="0"/>
                </a:lnTo>
                <a:lnTo>
                  <a:pt x="4110446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32603" y="4678842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86406" y="4656518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7579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Text -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320274"/>
            <a:ext cx="4411376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67829"/>
            <a:ext cx="4201886" cy="3221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5190308" y="0"/>
            <a:ext cx="1767839" cy="1581694"/>
          </a:xfrm>
          <a:prstGeom prst="rect">
            <a:avLst/>
          </a:pr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190308" y="1734094"/>
            <a:ext cx="1767839" cy="3409406"/>
          </a:xfrm>
          <a:prstGeom prst="rect">
            <a:avLst/>
          </a:pr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7167152" y="3561806"/>
            <a:ext cx="1767839" cy="1581694"/>
          </a:xfrm>
          <a:prstGeom prst="rect">
            <a:avLst/>
          </a:pr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7167153" y="0"/>
            <a:ext cx="1767839" cy="3409406"/>
          </a:xfrm>
          <a:prstGeom prst="rect">
            <a:avLst/>
          </a:pr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32268873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Text -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7217" y="309622"/>
            <a:ext cx="7652479" cy="85725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3"/>
          </p:nvPr>
        </p:nvSpPr>
        <p:spPr>
          <a:xfrm>
            <a:off x="1158241" y="1357177"/>
            <a:ext cx="7289074" cy="915760"/>
          </a:xfrm>
        </p:spPr>
        <p:txBody>
          <a:bodyPr>
            <a:normAutofit/>
          </a:bodyPr>
          <a:lstStyle>
            <a:lvl1pPr marL="0" indent="0" algn="ctr">
              <a:buNone/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1138881" y="2420983"/>
            <a:ext cx="7595816" cy="2722517"/>
          </a:xfrm>
          <a:prstGeom prst="triangle">
            <a:avLst/>
          </a:pr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numCol="1" anchor="ctr"/>
          <a:lstStyle>
            <a:lvl1pPr marL="0" indent="0" algn="ctr">
              <a:buNone/>
              <a:defRPr>
                <a:solidFill>
                  <a:srgbClr val="0070C0"/>
                </a:solidFill>
              </a:defRPr>
            </a:lvl1pPr>
          </a:lstStyle>
          <a:p>
            <a:r>
              <a:rPr lang="nl-BE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18493313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3269345" y="1641910"/>
            <a:ext cx="2473325" cy="2355324"/>
          </a:xfrm>
          <a:solidFill>
            <a:schemeClr val="bg1">
              <a:lumMod val="85000"/>
            </a:schemeClr>
          </a:solidFill>
        </p:spPr>
        <p:txBody>
          <a:bodyPr tIns="72000">
            <a:noAutofit/>
          </a:bodyPr>
          <a:lstStyle>
            <a:lvl1pPr marL="0" indent="0" algn="l">
              <a:buFont typeface="Arial"/>
              <a:buNone/>
              <a:defRPr sz="1050"/>
            </a:lvl1pPr>
            <a:lvl2pPr marL="88900" indent="-88900" algn="l">
              <a:buFont typeface="Lucida Grande"/>
              <a:buChar char="-"/>
              <a:defRPr sz="1000"/>
            </a:lvl2pPr>
            <a:lvl3pPr marL="177800" indent="-88900" algn="l">
              <a:buFont typeface="Arial"/>
              <a:buChar char="•"/>
              <a:tabLst/>
              <a:defRPr sz="900"/>
            </a:lvl3pPr>
            <a:lvl4pPr marL="715962" indent="0" algn="l">
              <a:buNone/>
              <a:defRPr sz="600"/>
            </a:lvl4pPr>
            <a:lvl5pPr marL="1828800" indent="0" algn="l"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5958548" y="1631750"/>
            <a:ext cx="2473325" cy="2365484"/>
          </a:xfrm>
          <a:solidFill>
            <a:schemeClr val="accent2"/>
          </a:solidFill>
        </p:spPr>
        <p:txBody>
          <a:bodyPr tIns="72000">
            <a:noAutofit/>
          </a:bodyPr>
          <a:lstStyle>
            <a:lvl1pPr marL="0" indent="0" algn="l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88900" indent="-88900" algn="l">
              <a:buFont typeface="Lucida Grande"/>
              <a:buChar char="-"/>
              <a:defRPr sz="1000">
                <a:solidFill>
                  <a:srgbClr val="FFFFFF"/>
                </a:solidFill>
              </a:defRPr>
            </a:lvl2pPr>
            <a:lvl3pPr marL="177800" indent="-88900" algn="l">
              <a:buFont typeface="Arial"/>
              <a:buChar char="•"/>
              <a:tabLst/>
              <a:defRPr sz="900">
                <a:solidFill>
                  <a:srgbClr val="FFFFFF"/>
                </a:solidFill>
              </a:defRPr>
            </a:lvl3pPr>
            <a:lvl4pPr marL="715962" indent="0" algn="l">
              <a:buNone/>
              <a:defRPr sz="600"/>
            </a:lvl4pPr>
            <a:lvl5pPr marL="1828800" indent="0" algn="l"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17"/>
          </p:nvPr>
        </p:nvSpPr>
        <p:spPr>
          <a:xfrm>
            <a:off x="579968" y="1631750"/>
            <a:ext cx="2473325" cy="2365484"/>
          </a:xfrm>
          <a:solidFill>
            <a:schemeClr val="accent3"/>
          </a:solidFill>
        </p:spPr>
        <p:txBody>
          <a:bodyPr tIns="72000">
            <a:noAutofit/>
          </a:bodyPr>
          <a:lstStyle>
            <a:lvl1pPr marL="0" indent="0" algn="l">
              <a:buFont typeface="Arial"/>
              <a:buNone/>
              <a:defRPr sz="1050"/>
            </a:lvl1pPr>
            <a:lvl2pPr marL="88900" indent="-88900" algn="l">
              <a:buFont typeface="Lucida Grande"/>
              <a:buChar char="-"/>
              <a:defRPr sz="1000"/>
            </a:lvl2pPr>
            <a:lvl3pPr marL="177800" indent="-88900" algn="l">
              <a:buFont typeface="Arial"/>
              <a:buChar char="•"/>
              <a:tabLst/>
              <a:defRPr sz="900"/>
            </a:lvl3pPr>
            <a:lvl4pPr marL="715962" indent="0" algn="l">
              <a:buNone/>
              <a:defRPr sz="600"/>
            </a:lvl4pPr>
            <a:lvl5pPr marL="1828800" indent="0" algn="l"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296230"/>
            <a:ext cx="6096000" cy="857250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32603" y="4678842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86406" y="4656518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2036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version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terialise_BL_Wordmark_sRGB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2" y="589280"/>
            <a:ext cx="2523688" cy="1524000"/>
          </a:xfrm>
          <a:prstGeom prst="rect">
            <a:avLst/>
          </a:prstGeom>
        </p:spPr>
      </p:pic>
      <p:pic>
        <p:nvPicPr>
          <p:cNvPr id="25" name="Picture 24" descr="pagina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647"/>
            <a:ext cx="9144000" cy="4986528"/>
          </a:xfrm>
          <a:prstGeom prst="rect">
            <a:avLst/>
          </a:prstGeom>
        </p:spPr>
      </p:pic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86406" y="4656518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20" name="object 15"/>
          <p:cNvSpPr txBox="1"/>
          <p:nvPr userDrawn="1"/>
        </p:nvSpPr>
        <p:spPr>
          <a:xfrm>
            <a:off x="3295276" y="3262465"/>
            <a:ext cx="5084444" cy="4488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25" marR="3810">
              <a:lnSpc>
                <a:spcPct val="80000"/>
              </a:lnSpc>
            </a:pPr>
            <a:endParaRPr sz="3500" dirty="0">
              <a:latin typeface="Arial"/>
              <a:cs typeface="Arial"/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32603" y="4678842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53189" y="2160194"/>
            <a:ext cx="4167536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353190" y="3017444"/>
            <a:ext cx="3340220" cy="1113523"/>
          </a:xfrm>
        </p:spPr>
        <p:txBody>
          <a:bodyPr>
            <a:normAutofit/>
          </a:bodyPr>
          <a:lstStyle>
            <a:lvl1pPr marL="0" indent="0" algn="l">
              <a:spcBef>
                <a:spcPts val="800"/>
              </a:spcBef>
              <a:spcAft>
                <a:spcPts val="800"/>
              </a:spcAft>
              <a:buSzPct val="100000"/>
              <a:buFont typeface="+mj-lt"/>
              <a:buNone/>
              <a:defRPr sz="1600" baseline="0">
                <a:solidFill>
                  <a:schemeClr val="accent2"/>
                </a:solidFill>
              </a:defRPr>
            </a:lvl1pPr>
            <a:lvl2pPr marL="608013" indent="-3429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400"/>
            </a:lvl2pPr>
            <a:lvl3pPr marL="768350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200"/>
            </a:lvl3pPr>
            <a:lvl4pPr marL="944562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100"/>
            </a:lvl4pPr>
          </a:lstStyle>
          <a:p>
            <a:pPr lvl="0"/>
            <a:r>
              <a:rPr lang="en-US" dirty="0"/>
              <a:t>Add a subtitle</a:t>
            </a:r>
          </a:p>
        </p:txBody>
      </p:sp>
    </p:spTree>
    <p:extLst>
      <p:ext uri="{BB962C8B-B14F-4D97-AF65-F5344CB8AC3E}">
        <p14:creationId xmlns:p14="http://schemas.microsoft.com/office/powerpoint/2010/main" val="3266441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2"/>
          </p:nvPr>
        </p:nvSpPr>
        <p:spPr>
          <a:xfrm>
            <a:off x="579968" y="1397331"/>
            <a:ext cx="2473325" cy="238125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Font typeface="Arial"/>
              <a:buNone/>
              <a:defRPr sz="1100" b="1">
                <a:solidFill>
                  <a:schemeClr val="bg1"/>
                </a:solidFill>
              </a:defRPr>
            </a:lvl1pPr>
            <a:lvl2pPr marL="265113" indent="0">
              <a:buFont typeface="Arial"/>
              <a:buNone/>
              <a:defRPr>
                <a:solidFill>
                  <a:schemeClr val="bg1"/>
                </a:solidFill>
              </a:defRPr>
            </a:lvl2pPr>
            <a:lvl3pPr marL="539750" indent="0">
              <a:buNone/>
              <a:defRPr>
                <a:solidFill>
                  <a:schemeClr val="bg1"/>
                </a:solidFill>
              </a:defRPr>
            </a:lvl3pPr>
            <a:lvl4pPr marL="715962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3269345" y="1397331"/>
            <a:ext cx="2473325" cy="238125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Font typeface="Arial"/>
              <a:buNone/>
              <a:defRPr sz="1100" b="1">
                <a:solidFill>
                  <a:schemeClr val="bg1"/>
                </a:solidFill>
              </a:defRPr>
            </a:lvl1pPr>
            <a:lvl2pPr marL="265113" indent="0">
              <a:buFont typeface="Arial"/>
              <a:buNone/>
              <a:defRPr>
                <a:solidFill>
                  <a:schemeClr val="bg1"/>
                </a:solidFill>
              </a:defRPr>
            </a:lvl2pPr>
            <a:lvl3pPr marL="539750" indent="0">
              <a:buNone/>
              <a:defRPr>
                <a:solidFill>
                  <a:schemeClr val="bg1"/>
                </a:solidFill>
              </a:defRPr>
            </a:lvl3pPr>
            <a:lvl4pPr marL="715962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5958548" y="1397331"/>
            <a:ext cx="2473325" cy="238125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Font typeface="Arial"/>
              <a:buNone/>
              <a:defRPr sz="1100" b="1">
                <a:solidFill>
                  <a:schemeClr val="bg1"/>
                </a:solidFill>
              </a:defRPr>
            </a:lvl1pPr>
            <a:lvl2pPr marL="265113" indent="0">
              <a:buFont typeface="Arial"/>
              <a:buNone/>
              <a:defRPr>
                <a:solidFill>
                  <a:schemeClr val="bg1"/>
                </a:solidFill>
              </a:defRPr>
            </a:lvl2pPr>
            <a:lvl3pPr marL="539750" indent="0">
              <a:buNone/>
              <a:defRPr>
                <a:solidFill>
                  <a:schemeClr val="bg1"/>
                </a:solidFill>
              </a:defRPr>
            </a:lvl3pPr>
            <a:lvl4pPr marL="715962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3269345" y="1641910"/>
            <a:ext cx="2473325" cy="1262063"/>
          </a:xfrm>
          <a:solidFill>
            <a:schemeClr val="bg1">
              <a:lumMod val="85000"/>
            </a:schemeClr>
          </a:solidFill>
        </p:spPr>
        <p:txBody>
          <a:bodyPr tIns="72000">
            <a:noAutofit/>
          </a:bodyPr>
          <a:lstStyle>
            <a:lvl1pPr marL="0" indent="0" algn="l">
              <a:buFont typeface="Arial"/>
              <a:buNone/>
              <a:defRPr sz="1050"/>
            </a:lvl1pPr>
            <a:lvl2pPr marL="88900" indent="-88900" algn="l">
              <a:buFont typeface="Lucida Grande"/>
              <a:buChar char="-"/>
              <a:defRPr sz="1000"/>
            </a:lvl2pPr>
            <a:lvl3pPr marL="177800" indent="-88900" algn="l">
              <a:buFont typeface="Arial"/>
              <a:buChar char="•"/>
              <a:tabLst/>
              <a:defRPr sz="900"/>
            </a:lvl3pPr>
            <a:lvl4pPr marL="715962" indent="0" algn="l">
              <a:buNone/>
              <a:defRPr sz="600"/>
            </a:lvl4pPr>
            <a:lvl5pPr marL="1828800" indent="0" algn="l"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5958548" y="1631750"/>
            <a:ext cx="2473325" cy="1262063"/>
          </a:xfrm>
          <a:solidFill>
            <a:schemeClr val="accent2"/>
          </a:solidFill>
        </p:spPr>
        <p:txBody>
          <a:bodyPr tIns="72000">
            <a:noAutofit/>
          </a:bodyPr>
          <a:lstStyle>
            <a:lvl1pPr marL="0" indent="0" algn="l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88900" indent="-88900" algn="l">
              <a:buFont typeface="Lucida Grande"/>
              <a:buChar char="-"/>
              <a:defRPr sz="1000">
                <a:solidFill>
                  <a:srgbClr val="FFFFFF"/>
                </a:solidFill>
              </a:defRPr>
            </a:lvl2pPr>
            <a:lvl3pPr marL="177800" indent="-88900" algn="l">
              <a:buFont typeface="Arial"/>
              <a:buChar char="•"/>
              <a:tabLst/>
              <a:defRPr sz="900">
                <a:solidFill>
                  <a:srgbClr val="FFFFFF"/>
                </a:solidFill>
              </a:defRPr>
            </a:lvl3pPr>
            <a:lvl4pPr marL="715962" indent="0" algn="l">
              <a:buNone/>
              <a:defRPr sz="600"/>
            </a:lvl4pPr>
            <a:lvl5pPr marL="1828800" indent="0" algn="l"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17"/>
          </p:nvPr>
        </p:nvSpPr>
        <p:spPr>
          <a:xfrm>
            <a:off x="579968" y="1631750"/>
            <a:ext cx="2473325" cy="1262063"/>
          </a:xfrm>
          <a:solidFill>
            <a:schemeClr val="accent3"/>
          </a:solidFill>
        </p:spPr>
        <p:txBody>
          <a:bodyPr tIns="72000">
            <a:noAutofit/>
          </a:bodyPr>
          <a:lstStyle>
            <a:lvl1pPr marL="0" indent="0" algn="l">
              <a:buFont typeface="Arial"/>
              <a:buNone/>
              <a:defRPr sz="1050"/>
            </a:lvl1pPr>
            <a:lvl2pPr marL="88900" indent="-88900" algn="l">
              <a:buFont typeface="Lucida Grande"/>
              <a:buChar char="-"/>
              <a:defRPr sz="1000"/>
            </a:lvl2pPr>
            <a:lvl3pPr marL="177800" indent="-88900" algn="l">
              <a:buFont typeface="Arial"/>
              <a:buChar char="•"/>
              <a:tabLst/>
              <a:defRPr sz="900"/>
            </a:lvl3pPr>
            <a:lvl4pPr marL="715962" indent="0" algn="l">
              <a:buNone/>
              <a:defRPr sz="600"/>
            </a:lvl4pPr>
            <a:lvl5pPr marL="1828800" indent="0" algn="l"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18"/>
          </p:nvPr>
        </p:nvSpPr>
        <p:spPr>
          <a:xfrm>
            <a:off x="579968" y="2899728"/>
            <a:ext cx="2473325" cy="1590675"/>
          </a:xfrm>
        </p:spPr>
        <p:txBody>
          <a:bodyPr/>
          <a:lstStyle>
            <a:lvl1pPr marL="0" indent="0" algn="ctr">
              <a:buFont typeface="Arial"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32"/>
          <p:cNvSpPr>
            <a:spLocks noGrp="1"/>
          </p:cNvSpPr>
          <p:nvPr>
            <p:ph type="pic" sz="quarter" idx="19"/>
          </p:nvPr>
        </p:nvSpPr>
        <p:spPr>
          <a:xfrm>
            <a:off x="3269345" y="2909888"/>
            <a:ext cx="2473325" cy="1590675"/>
          </a:xfrm>
        </p:spPr>
        <p:txBody>
          <a:bodyPr/>
          <a:lstStyle>
            <a:lvl1pPr marL="0" indent="0" algn="ctr">
              <a:buFont typeface="Arial"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32"/>
          <p:cNvSpPr>
            <a:spLocks noGrp="1"/>
          </p:cNvSpPr>
          <p:nvPr>
            <p:ph type="pic" sz="quarter" idx="20"/>
          </p:nvPr>
        </p:nvSpPr>
        <p:spPr>
          <a:xfrm>
            <a:off x="5955374" y="2899728"/>
            <a:ext cx="2473325" cy="1590675"/>
          </a:xfrm>
        </p:spPr>
        <p:txBody>
          <a:bodyPr/>
          <a:lstStyle>
            <a:lvl1pPr marL="0" indent="0" algn="ctr">
              <a:buFont typeface="Arial"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296230"/>
            <a:ext cx="6096000" cy="857250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32603" y="4678842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86406" y="4656518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919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3269345" y="2871397"/>
            <a:ext cx="2473325" cy="1262063"/>
          </a:xfrm>
          <a:solidFill>
            <a:schemeClr val="accent1"/>
          </a:solidFill>
        </p:spPr>
        <p:txBody>
          <a:bodyPr tIns="72000">
            <a:noAutofit/>
          </a:bodyPr>
          <a:lstStyle>
            <a:lvl1pPr marL="0" indent="0" algn="l">
              <a:buFont typeface="Arial"/>
              <a:buNone/>
              <a:defRPr sz="1050">
                <a:solidFill>
                  <a:schemeClr val="bg1"/>
                </a:solidFill>
              </a:defRPr>
            </a:lvl1pPr>
            <a:lvl2pPr marL="88900" indent="-88900" algn="l">
              <a:buFont typeface="Lucida Grande"/>
              <a:buChar char="-"/>
              <a:defRPr sz="1000">
                <a:solidFill>
                  <a:schemeClr val="bg1"/>
                </a:solidFill>
              </a:defRPr>
            </a:lvl2pPr>
            <a:lvl3pPr marL="177800" indent="-88900" algn="l">
              <a:buFont typeface="Arial"/>
              <a:buChar char="•"/>
              <a:tabLst/>
              <a:defRPr sz="900">
                <a:solidFill>
                  <a:schemeClr val="bg1"/>
                </a:solidFill>
              </a:defRPr>
            </a:lvl3pPr>
            <a:lvl4pPr marL="715962" indent="0" algn="l">
              <a:buNone/>
              <a:defRPr sz="600"/>
            </a:lvl4pPr>
            <a:lvl5pPr marL="1828800" indent="0" algn="l"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5958548" y="2861237"/>
            <a:ext cx="2473325" cy="1262063"/>
          </a:xfrm>
          <a:solidFill>
            <a:schemeClr val="accent2"/>
          </a:solidFill>
        </p:spPr>
        <p:txBody>
          <a:bodyPr tIns="72000">
            <a:noAutofit/>
          </a:bodyPr>
          <a:lstStyle>
            <a:lvl1pPr marL="0" indent="0" algn="l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88900" indent="-88900" algn="l">
              <a:buFont typeface="Lucida Grande"/>
              <a:buChar char="-"/>
              <a:defRPr sz="1000">
                <a:solidFill>
                  <a:srgbClr val="FFFFFF"/>
                </a:solidFill>
              </a:defRPr>
            </a:lvl2pPr>
            <a:lvl3pPr marL="177800" indent="-88900" algn="l">
              <a:buFont typeface="Arial"/>
              <a:buChar char="•"/>
              <a:tabLst/>
              <a:defRPr sz="900">
                <a:solidFill>
                  <a:srgbClr val="FFFFFF"/>
                </a:solidFill>
              </a:defRPr>
            </a:lvl3pPr>
            <a:lvl4pPr marL="715962" indent="0" algn="l">
              <a:buNone/>
              <a:defRPr sz="600"/>
            </a:lvl4pPr>
            <a:lvl5pPr marL="1828800" indent="0" algn="l"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17"/>
          </p:nvPr>
        </p:nvSpPr>
        <p:spPr>
          <a:xfrm>
            <a:off x="579968" y="2861237"/>
            <a:ext cx="2473325" cy="1262063"/>
          </a:xfrm>
          <a:solidFill>
            <a:schemeClr val="accent3"/>
          </a:solidFill>
        </p:spPr>
        <p:txBody>
          <a:bodyPr tIns="72000">
            <a:noAutofit/>
          </a:bodyPr>
          <a:lstStyle>
            <a:lvl1pPr marL="0" indent="0" algn="l">
              <a:buFont typeface="Arial"/>
              <a:buNone/>
              <a:defRPr sz="1050"/>
            </a:lvl1pPr>
            <a:lvl2pPr marL="88900" indent="-88900" algn="l">
              <a:buFont typeface="Lucida Grande"/>
              <a:buChar char="-"/>
              <a:defRPr sz="1000"/>
            </a:lvl2pPr>
            <a:lvl3pPr marL="177800" indent="-88900" algn="l">
              <a:buFont typeface="Arial"/>
              <a:buChar char="•"/>
              <a:tabLst/>
              <a:defRPr sz="900"/>
            </a:lvl3pPr>
            <a:lvl4pPr marL="715962" indent="0" algn="l">
              <a:buNone/>
              <a:defRPr sz="600"/>
            </a:lvl4pPr>
            <a:lvl5pPr marL="1828800" indent="0" algn="l"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18"/>
          </p:nvPr>
        </p:nvSpPr>
        <p:spPr>
          <a:xfrm>
            <a:off x="579968" y="1778000"/>
            <a:ext cx="2473325" cy="1088825"/>
          </a:xfrm>
          <a:pattFill prst="smCheck">
            <a:fgClr>
              <a:schemeClr val="tx2">
                <a:lumMod val="85000"/>
              </a:schemeClr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Font typeface="Arial"/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32"/>
          <p:cNvSpPr>
            <a:spLocks noGrp="1"/>
          </p:cNvSpPr>
          <p:nvPr>
            <p:ph type="pic" sz="quarter" idx="19"/>
          </p:nvPr>
        </p:nvSpPr>
        <p:spPr>
          <a:xfrm>
            <a:off x="3269345" y="1778000"/>
            <a:ext cx="2473325" cy="1098985"/>
          </a:xfrm>
          <a:pattFill prst="smCheck">
            <a:fgClr>
              <a:schemeClr val="tx2">
                <a:lumMod val="85000"/>
              </a:schemeClr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Font typeface="Arial"/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32"/>
          <p:cNvSpPr>
            <a:spLocks noGrp="1"/>
          </p:cNvSpPr>
          <p:nvPr>
            <p:ph type="pic" sz="quarter" idx="20"/>
          </p:nvPr>
        </p:nvSpPr>
        <p:spPr>
          <a:xfrm>
            <a:off x="5955374" y="1778000"/>
            <a:ext cx="2473325" cy="1088825"/>
          </a:xfrm>
          <a:pattFill prst="smCheck">
            <a:fgClr>
              <a:schemeClr val="tx2">
                <a:lumMod val="85000"/>
              </a:schemeClr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Font typeface="Arial"/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296230"/>
            <a:ext cx="6096000" cy="857250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32603" y="4678842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86406" y="4656518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6983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296230"/>
            <a:ext cx="6096000" cy="857250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32603" y="4678842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86406" y="4656518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1436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648" imgH="649" progId="TCLayout.ActiveDocument.1">
                  <p:embed/>
                </p:oleObj>
              </mc:Choice>
              <mc:Fallback>
                <p:oleObj name="think-cell Slide" r:id="rId4" imgW="648" imgH="6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490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_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-2" y="-1"/>
            <a:ext cx="9144000" cy="2422664"/>
          </a:xfrm>
        </p:spPr>
        <p:txBody>
          <a:bodyPr rtlCol="0">
            <a:normAutofit/>
          </a:bodyPr>
          <a:lstStyle>
            <a:lvl1pPr marL="0" indent="0">
              <a:buNone/>
              <a:defRPr sz="750">
                <a:latin typeface="Raleway Light"/>
                <a:cs typeface="Raleway Ligh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1151916" y="925034"/>
            <a:ext cx="1770644" cy="3168879"/>
          </a:xfrm>
        </p:spPr>
        <p:txBody>
          <a:bodyPr rtlCol="0">
            <a:normAutofit/>
          </a:bodyPr>
          <a:lstStyle>
            <a:lvl1pPr marL="0" indent="0">
              <a:buNone/>
              <a:defRPr sz="750">
                <a:latin typeface="Raleway Light"/>
                <a:cs typeface="Raleway Light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228438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version 2"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gina3kopi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05"/>
            <a:ext cx="9180002" cy="49113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8771" y="2209555"/>
            <a:ext cx="3732778" cy="1439353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object 15"/>
          <p:cNvSpPr txBox="1"/>
          <p:nvPr userDrawn="1"/>
        </p:nvSpPr>
        <p:spPr>
          <a:xfrm>
            <a:off x="3295276" y="3262465"/>
            <a:ext cx="5084444" cy="4488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25" marR="3810">
              <a:lnSpc>
                <a:spcPct val="80000"/>
              </a:lnSpc>
            </a:pPr>
            <a:endParaRPr sz="3500" dirty="0">
              <a:latin typeface="Arial"/>
              <a:cs typeface="Arial"/>
            </a:endParaRPr>
          </a:p>
        </p:txBody>
      </p:sp>
      <p:pic>
        <p:nvPicPr>
          <p:cNvPr id="10" name="Picture 9" descr="Materialise_WT_sRGB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352" y="454614"/>
            <a:ext cx="1417311" cy="70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93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vers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pagina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6569"/>
            <a:ext cx="9144000" cy="44943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28512" y="2149009"/>
            <a:ext cx="3855087" cy="1517999"/>
          </a:xfr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object 15"/>
          <p:cNvSpPr txBox="1"/>
          <p:nvPr userDrawn="1"/>
        </p:nvSpPr>
        <p:spPr>
          <a:xfrm>
            <a:off x="3295276" y="3262465"/>
            <a:ext cx="5084444" cy="4488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25" marR="3810">
              <a:lnSpc>
                <a:spcPct val="80000"/>
              </a:lnSpc>
            </a:pPr>
            <a:endParaRPr sz="35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9050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86406" y="4656518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199" y="2075310"/>
            <a:ext cx="7077075" cy="24655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32603" y="4678842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218299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 descr="pagina7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99930"/>
            <a:ext cx="9144000" cy="1126435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222856" y="3956785"/>
            <a:ext cx="3359150" cy="495300"/>
          </a:xfrm>
        </p:spPr>
        <p:txBody>
          <a:bodyPr anchor="b"/>
          <a:lstStyle>
            <a:lvl1pPr marL="0" indent="0" algn="r">
              <a:buFont typeface="Arial"/>
              <a:buNone/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86406" y="4656518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2075310"/>
            <a:ext cx="6096000" cy="16090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32603" y="4678842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972927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86406" y="4656518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67359" y="2288667"/>
            <a:ext cx="7077075" cy="2273173"/>
          </a:xfrm>
        </p:spPr>
        <p:txBody>
          <a:bodyPr>
            <a:normAutofit/>
          </a:bodyPr>
          <a:lstStyle>
            <a:lvl1pPr marL="263525" indent="-263525" algn="l">
              <a:spcBef>
                <a:spcPts val="800"/>
              </a:spcBef>
              <a:spcAft>
                <a:spcPts val="800"/>
              </a:spcAft>
              <a:buSzPct val="100000"/>
              <a:buFont typeface="+mj-lt"/>
              <a:buAutoNum type="arabicPeriod"/>
              <a:defRPr sz="1600">
                <a:solidFill>
                  <a:schemeClr val="accent2"/>
                </a:solidFill>
              </a:defRPr>
            </a:lvl1pPr>
            <a:lvl2pPr marL="608013" indent="-3429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400"/>
            </a:lvl2pPr>
            <a:lvl3pPr marL="768350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200"/>
            </a:lvl3pPr>
            <a:lvl4pPr marL="944562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100"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agenda[1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1720"/>
            <a:ext cx="9144000" cy="10180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1346487"/>
            <a:ext cx="6096000" cy="65347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32603" y="4678842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83115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706411"/>
            <a:ext cx="4167536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4641669" y="-8710"/>
            <a:ext cx="4502331" cy="5152209"/>
          </a:xfrm>
          <a:custGeom>
            <a:avLst/>
            <a:gdLst>
              <a:gd name="connsiteX0" fmla="*/ 0 w 4502331"/>
              <a:gd name="connsiteY0" fmla="*/ 0 h 5143500"/>
              <a:gd name="connsiteX1" fmla="*/ 4502331 w 4502331"/>
              <a:gd name="connsiteY1" fmla="*/ 0 h 5143500"/>
              <a:gd name="connsiteX2" fmla="*/ 4502331 w 4502331"/>
              <a:gd name="connsiteY2" fmla="*/ 5143500 h 5143500"/>
              <a:gd name="connsiteX3" fmla="*/ 0 w 4502331"/>
              <a:gd name="connsiteY3" fmla="*/ 5143500 h 5143500"/>
              <a:gd name="connsiteX4" fmla="*/ 0 w 4502331"/>
              <a:gd name="connsiteY4" fmla="*/ 0 h 5143500"/>
              <a:gd name="connsiteX0" fmla="*/ 1045028 w 4502331"/>
              <a:gd name="connsiteY0" fmla="*/ 0 h 5152209"/>
              <a:gd name="connsiteX1" fmla="*/ 4502331 w 4502331"/>
              <a:gd name="connsiteY1" fmla="*/ 8709 h 5152209"/>
              <a:gd name="connsiteX2" fmla="*/ 4502331 w 4502331"/>
              <a:gd name="connsiteY2" fmla="*/ 5152209 h 5152209"/>
              <a:gd name="connsiteX3" fmla="*/ 0 w 4502331"/>
              <a:gd name="connsiteY3" fmla="*/ 5152209 h 5152209"/>
              <a:gd name="connsiteX4" fmla="*/ 1045028 w 4502331"/>
              <a:gd name="connsiteY4" fmla="*/ 0 h 5152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2331" h="5152209">
                <a:moveTo>
                  <a:pt x="1045028" y="0"/>
                </a:moveTo>
                <a:lnTo>
                  <a:pt x="4502331" y="8709"/>
                </a:lnTo>
                <a:lnTo>
                  <a:pt x="4502331" y="5152209"/>
                </a:lnTo>
                <a:lnTo>
                  <a:pt x="0" y="5152209"/>
                </a:lnTo>
                <a:lnTo>
                  <a:pt x="1045028" y="0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vert="horz" lIns="91440" tIns="45720" rIns="91440" bIns="45720" numCol="1" rtlCol="0" anchor="ctr">
            <a:normAutofit/>
          </a:bodyPr>
          <a:lstStyle>
            <a:lvl1pPr>
              <a:defRPr lang="nl-BE" dirty="0">
                <a:solidFill>
                  <a:srgbClr val="0070C0"/>
                </a:solidFill>
              </a:defRPr>
            </a:lvl1pPr>
          </a:lstStyle>
          <a:p>
            <a:pPr marL="0" lvl="0" indent="0" algn="ctr">
              <a:buNone/>
            </a:pPr>
            <a:r>
              <a:rPr lang="nl-BE" dirty="0"/>
              <a:t>Click to add a picture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4134" y="1563661"/>
            <a:ext cx="3340220" cy="1113523"/>
          </a:xfrm>
        </p:spPr>
        <p:txBody>
          <a:bodyPr>
            <a:normAutofit/>
          </a:bodyPr>
          <a:lstStyle>
            <a:lvl1pPr marL="0" indent="0" algn="l">
              <a:spcBef>
                <a:spcPts val="800"/>
              </a:spcBef>
              <a:spcAft>
                <a:spcPts val="800"/>
              </a:spcAft>
              <a:buSzPct val="100000"/>
              <a:buFont typeface="+mj-lt"/>
              <a:buNone/>
              <a:defRPr sz="1600" baseline="0">
                <a:solidFill>
                  <a:schemeClr val="accent2"/>
                </a:solidFill>
              </a:defRPr>
            </a:lvl1pPr>
            <a:lvl2pPr marL="608013" indent="-3429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400"/>
            </a:lvl2pPr>
            <a:lvl3pPr marL="768350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200"/>
            </a:lvl3pPr>
            <a:lvl4pPr marL="944562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100"/>
            </a:lvl4pPr>
          </a:lstStyle>
          <a:p>
            <a:pPr lvl="0"/>
            <a:r>
              <a:rPr lang="en-US" dirty="0"/>
              <a:t>Add a subtitle</a:t>
            </a:r>
          </a:p>
        </p:txBody>
      </p:sp>
    </p:spTree>
    <p:extLst>
      <p:ext uri="{BB962C8B-B14F-4D97-AF65-F5344CB8AC3E}">
        <p14:creationId xmlns:p14="http://schemas.microsoft.com/office/powerpoint/2010/main" val="15910549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3" y="706411"/>
            <a:ext cx="4167536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962401" y="536936"/>
            <a:ext cx="5181600" cy="4606564"/>
          </a:xfrm>
          <a:custGeom>
            <a:avLst/>
            <a:gdLst>
              <a:gd name="connsiteX0" fmla="*/ 0 w 4502331"/>
              <a:gd name="connsiteY0" fmla="*/ 0 h 5143500"/>
              <a:gd name="connsiteX1" fmla="*/ 4502331 w 4502331"/>
              <a:gd name="connsiteY1" fmla="*/ 0 h 5143500"/>
              <a:gd name="connsiteX2" fmla="*/ 4502331 w 4502331"/>
              <a:gd name="connsiteY2" fmla="*/ 5143500 h 5143500"/>
              <a:gd name="connsiteX3" fmla="*/ 0 w 4502331"/>
              <a:gd name="connsiteY3" fmla="*/ 5143500 h 5143500"/>
              <a:gd name="connsiteX4" fmla="*/ 0 w 4502331"/>
              <a:gd name="connsiteY4" fmla="*/ 0 h 5143500"/>
              <a:gd name="connsiteX0" fmla="*/ 1045028 w 4502331"/>
              <a:gd name="connsiteY0" fmla="*/ 0 h 5152209"/>
              <a:gd name="connsiteX1" fmla="*/ 4502331 w 4502331"/>
              <a:gd name="connsiteY1" fmla="*/ 8709 h 5152209"/>
              <a:gd name="connsiteX2" fmla="*/ 4502331 w 4502331"/>
              <a:gd name="connsiteY2" fmla="*/ 5152209 h 5152209"/>
              <a:gd name="connsiteX3" fmla="*/ 0 w 4502331"/>
              <a:gd name="connsiteY3" fmla="*/ 5152209 h 5152209"/>
              <a:gd name="connsiteX4" fmla="*/ 1045028 w 4502331"/>
              <a:gd name="connsiteY4" fmla="*/ 0 h 5152209"/>
              <a:gd name="connsiteX0" fmla="*/ 0 w 4502331"/>
              <a:gd name="connsiteY0" fmla="*/ 5143500 h 5143500"/>
              <a:gd name="connsiteX1" fmla="*/ 4502331 w 4502331"/>
              <a:gd name="connsiteY1" fmla="*/ 0 h 5143500"/>
              <a:gd name="connsiteX2" fmla="*/ 4502331 w 4502331"/>
              <a:gd name="connsiteY2" fmla="*/ 5143500 h 5143500"/>
              <a:gd name="connsiteX3" fmla="*/ 0 w 4502331"/>
              <a:gd name="connsiteY3" fmla="*/ 5143500 h 5143500"/>
              <a:gd name="connsiteX0" fmla="*/ 0 w 4502331"/>
              <a:gd name="connsiteY0" fmla="*/ 4002678 h 4002678"/>
              <a:gd name="connsiteX1" fmla="*/ 4502331 w 4502331"/>
              <a:gd name="connsiteY1" fmla="*/ 0 h 4002678"/>
              <a:gd name="connsiteX2" fmla="*/ 4502331 w 4502331"/>
              <a:gd name="connsiteY2" fmla="*/ 4002678 h 4002678"/>
              <a:gd name="connsiteX3" fmla="*/ 0 w 4502331"/>
              <a:gd name="connsiteY3" fmla="*/ 4002678 h 4002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2331" h="4002678">
                <a:moveTo>
                  <a:pt x="0" y="4002678"/>
                </a:moveTo>
                <a:lnTo>
                  <a:pt x="4502331" y="0"/>
                </a:lnTo>
                <a:lnTo>
                  <a:pt x="4502331" y="4002678"/>
                </a:lnTo>
                <a:lnTo>
                  <a:pt x="0" y="4002678"/>
                </a:lnTo>
                <a:close/>
              </a:path>
            </a:pathLst>
          </a:custGeom>
          <a:pattFill prst="dotDmnd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</p:spPr>
        <p:txBody>
          <a:bodyPr vert="horz" lIns="91440" tIns="45720" rIns="91440" bIns="45720" numCol="1" rtlCol="0" anchor="ctr">
            <a:normAutofit/>
          </a:bodyPr>
          <a:lstStyle>
            <a:lvl1pPr>
              <a:defRPr lang="nl-BE" dirty="0">
                <a:solidFill>
                  <a:srgbClr val="0070C0"/>
                </a:solidFill>
              </a:defRPr>
            </a:lvl1pPr>
          </a:lstStyle>
          <a:p>
            <a:pPr marL="0" lvl="0" indent="0" algn="ctr">
              <a:buNone/>
            </a:pPr>
            <a:r>
              <a:rPr lang="nl-BE" dirty="0"/>
              <a:t>Add a picture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4134" y="1563661"/>
            <a:ext cx="3340220" cy="1113523"/>
          </a:xfrm>
        </p:spPr>
        <p:txBody>
          <a:bodyPr>
            <a:normAutofit/>
          </a:bodyPr>
          <a:lstStyle>
            <a:lvl1pPr marL="0" indent="0" algn="l">
              <a:spcBef>
                <a:spcPts val="800"/>
              </a:spcBef>
              <a:spcAft>
                <a:spcPts val="800"/>
              </a:spcAft>
              <a:buSzPct val="100000"/>
              <a:buFont typeface="+mj-lt"/>
              <a:buNone/>
              <a:defRPr sz="1600" baseline="0">
                <a:solidFill>
                  <a:schemeClr val="accent2"/>
                </a:solidFill>
              </a:defRPr>
            </a:lvl1pPr>
            <a:lvl2pPr marL="608013" indent="-3429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400"/>
            </a:lvl2pPr>
            <a:lvl3pPr marL="768350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200"/>
            </a:lvl3pPr>
            <a:lvl4pPr marL="944562" indent="-228600" algn="l">
              <a:spcBef>
                <a:spcPts val="800"/>
              </a:spcBef>
              <a:spcAft>
                <a:spcPts val="800"/>
              </a:spcAft>
              <a:buFont typeface="+mj-lt"/>
              <a:buAutoNum type="arabicPeriod"/>
              <a:defRPr sz="1100"/>
            </a:lvl4pPr>
          </a:lstStyle>
          <a:p>
            <a:pPr lvl="0"/>
            <a:r>
              <a:rPr lang="en-US" dirty="0"/>
              <a:t>Add a subtitle</a:t>
            </a:r>
          </a:p>
        </p:txBody>
      </p:sp>
    </p:spTree>
    <p:extLst>
      <p:ext uri="{BB962C8B-B14F-4D97-AF65-F5344CB8AC3E}">
        <p14:creationId xmlns:p14="http://schemas.microsoft.com/office/powerpoint/2010/main" val="1970524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4133" y="706411"/>
            <a:ext cx="60960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nl-NL"/>
              <a:t>Titelstijl van model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583" y="2067343"/>
            <a:ext cx="7066517" cy="22614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BE" dirty="0"/>
              <a:t>Click to edit Master text styles</a:t>
            </a:r>
          </a:p>
          <a:p>
            <a:pPr lvl="1"/>
            <a:r>
              <a:rPr lang="nl-BE" dirty="0"/>
              <a:t>Second level</a:t>
            </a:r>
          </a:p>
          <a:p>
            <a:pPr lvl="2"/>
            <a:r>
              <a:rPr lang="nl-BE" dirty="0"/>
              <a:t>Third level</a:t>
            </a:r>
          </a:p>
          <a:p>
            <a:pPr lvl="3"/>
            <a:r>
              <a:rPr lang="nl-BE" dirty="0"/>
              <a:t>Fourth level</a:t>
            </a:r>
          </a:p>
        </p:txBody>
      </p:sp>
      <p:pic>
        <p:nvPicPr>
          <p:cNvPr id="12" name="Picture 11" descr="Materialise_BL_sRGB.png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711" y="318660"/>
            <a:ext cx="1173421" cy="579960"/>
          </a:xfrm>
          <a:prstGeom prst="rect">
            <a:avLst/>
          </a:prstGeom>
        </p:spPr>
      </p:pic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79022" y="4656518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416920" y="4685567"/>
            <a:ext cx="498538" cy="246948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2"/>
                </a:solidFill>
                <a:latin typeface="Arial Hebrew" charset="-79"/>
                <a:ea typeface="Arial Hebrew" charset="-79"/>
                <a:cs typeface="Arial Hebrew" charset="-79"/>
              </a:defRPr>
            </a:lvl1pPr>
          </a:lstStyle>
          <a:p>
            <a:fld id="{0CC31800-EA3F-C942-A3F9-43DB171805CE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07890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649" r:id="rId2"/>
    <p:sldLayoutId id="2147483660" r:id="rId3"/>
    <p:sldLayoutId id="2147483662" r:id="rId4"/>
    <p:sldLayoutId id="2147483650" r:id="rId5"/>
    <p:sldLayoutId id="2147483664" r:id="rId6"/>
    <p:sldLayoutId id="2147483676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654" r:id="rId20"/>
    <p:sldLayoutId id="2147483708" r:id="rId21"/>
    <p:sldLayoutId id="2147483698" r:id="rId22"/>
    <p:sldLayoutId id="2147483733" r:id="rId23"/>
    <p:sldLayoutId id="2147483734" r:id="rId24"/>
  </p:sldLayoutIdLst>
  <p:hf sldNum="0"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55600" indent="-355600" algn="l" defTabSz="4572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SzPct val="120000"/>
        <a:buFont typeface="Arial" panose="020B0604020202020204" pitchFamily="34" charset="0"/>
        <a:buChar char="•"/>
        <a:defRPr sz="1000" kern="1200">
          <a:solidFill>
            <a:schemeClr val="accent2"/>
          </a:solidFill>
          <a:latin typeface="Arial"/>
          <a:ea typeface="+mn-ea"/>
          <a:cs typeface="+mn-cs"/>
        </a:defRPr>
      </a:lvl1pPr>
      <a:lvl2pPr marL="720725" indent="-365125" algn="l" defTabSz="4572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SzPct val="125000"/>
        <a:buFont typeface="Arial" panose="020B0604020202020204" pitchFamily="34" charset="0"/>
        <a:buChar char="•"/>
        <a:defRPr sz="1000" kern="1200">
          <a:solidFill>
            <a:schemeClr val="accent2"/>
          </a:solidFill>
          <a:latin typeface="Arial"/>
          <a:ea typeface="+mn-ea"/>
          <a:cs typeface="+mn-cs"/>
        </a:defRPr>
      </a:lvl2pPr>
      <a:lvl3pPr marL="893763" indent="-173038" algn="l" defTabSz="4572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Lucida Grande"/>
        <a:buChar char="-"/>
        <a:tabLst/>
        <a:defRPr sz="1000" kern="1200">
          <a:solidFill>
            <a:schemeClr val="accent2"/>
          </a:solidFill>
          <a:latin typeface="Arial"/>
          <a:ea typeface="+mn-ea"/>
          <a:cs typeface="+mn-cs"/>
        </a:defRPr>
      </a:lvl3pPr>
      <a:lvl4pPr marL="1076325" indent="-182563" algn="l" defTabSz="4572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/>
        <a:buChar char="–"/>
        <a:defRPr sz="1000" kern="1200">
          <a:solidFill>
            <a:schemeClr val="accent2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://leumamsv00001/STREAMICS/PostProcessing" TargetMode="Externa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://leumamsv00001/STREAMICS/PostProcessing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Python promotion too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nl-BE" dirty="0"/>
              <a:t>OMS and Streamics</a:t>
            </a:r>
          </a:p>
        </p:txBody>
      </p:sp>
    </p:spTree>
    <p:extLst>
      <p:ext uri="{BB962C8B-B14F-4D97-AF65-F5344CB8AC3E}">
        <p14:creationId xmlns:p14="http://schemas.microsoft.com/office/powerpoint/2010/main" val="23523775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Order ID &lt;&gt; Case I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5C30B6-0FAB-4045-B6F1-A45206EBB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9066" y="1091935"/>
            <a:ext cx="7145867" cy="383918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D92F0CB-94CD-4D41-A31D-FE0E4984DA97}"/>
              </a:ext>
            </a:extLst>
          </p:cNvPr>
          <p:cNvSpPr/>
          <p:nvPr/>
        </p:nvSpPr>
        <p:spPr>
          <a:xfrm>
            <a:off x="1653796" y="3236621"/>
            <a:ext cx="1103260" cy="1612470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400" dirty="0" err="1"/>
          </a:p>
        </p:txBody>
      </p:sp>
    </p:spTree>
    <p:extLst>
      <p:ext uri="{BB962C8B-B14F-4D97-AF65-F5344CB8AC3E}">
        <p14:creationId xmlns:p14="http://schemas.microsoft.com/office/powerpoint/2010/main" val="16196679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Order ID &lt;&gt; Case I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5C30B6-0FAB-4045-B6F1-A45206EBBC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968" t="54378" r="66350" b="6591"/>
          <a:stretch/>
        </p:blipFill>
        <p:spPr>
          <a:xfrm>
            <a:off x="540286" y="1079055"/>
            <a:ext cx="3900055" cy="33133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D92F0CB-94CD-4D41-A31D-FE0E4984DA97}"/>
              </a:ext>
            </a:extLst>
          </p:cNvPr>
          <p:cNvSpPr/>
          <p:nvPr/>
        </p:nvSpPr>
        <p:spPr>
          <a:xfrm>
            <a:off x="678670" y="1302327"/>
            <a:ext cx="2279276" cy="346364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400" dirty="0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91C45D-FFE9-45FD-B779-CFE3D0D0D253}"/>
              </a:ext>
            </a:extLst>
          </p:cNvPr>
          <p:cNvSpPr txBox="1">
            <a:spLocks/>
          </p:cNvSpPr>
          <p:nvPr/>
        </p:nvSpPr>
        <p:spPr>
          <a:xfrm>
            <a:off x="4703661" y="1302327"/>
            <a:ext cx="4135539" cy="33133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355600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1pPr>
            <a:lvl2pPr marL="720725" indent="-365125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5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2pPr>
            <a:lvl3pPr marL="893763" indent="-173038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Lucida Grande"/>
              <a:buChar char="-"/>
              <a:tabLst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3pPr>
            <a:lvl4pPr marL="1076325" indent="-182563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/>
              <a:buChar char="–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Order ID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Internal unique production number of MTL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(i.e. a number with no meaning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Case ID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Internal unique code of the insoles/OM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(i.e. alternate key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Customer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RS Print OMS</a:t>
            </a:r>
            <a:endParaRPr lang="en-US" sz="1600" dirty="0">
              <a:solidFill>
                <a:srgbClr val="00B050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355600" lvl="1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0203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Order ID &lt;&gt; Case ID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DDC73170-FF6B-4D87-93F2-33E8DAA920B7}"/>
              </a:ext>
            </a:extLst>
          </p:cNvPr>
          <p:cNvSpPr txBox="1">
            <a:spLocks/>
          </p:cNvSpPr>
          <p:nvPr/>
        </p:nvSpPr>
        <p:spPr>
          <a:xfrm>
            <a:off x="1357746" y="1311234"/>
            <a:ext cx="7270062" cy="20900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355600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1pPr>
            <a:lvl2pPr marL="720725" indent="-365125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5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2pPr>
            <a:lvl3pPr marL="893763" indent="-173038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Lucida Grande"/>
              <a:buChar char="-"/>
              <a:tabLst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3pPr>
            <a:lvl4pPr marL="1076325" indent="-182563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/>
              <a:buChar char="–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RS22-SAN-DER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Login =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firstname.lastname@materialise.be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355600" lvl="1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796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nual workflow Streamics</a:t>
            </a:r>
          </a:p>
        </p:txBody>
      </p:sp>
    </p:spTree>
    <p:extLst>
      <p:ext uri="{BB962C8B-B14F-4D97-AF65-F5344CB8AC3E}">
        <p14:creationId xmlns:p14="http://schemas.microsoft.com/office/powerpoint/2010/main" val="16797214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Logi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16193" y="4150518"/>
            <a:ext cx="8111614" cy="639315"/>
          </a:xfrm>
        </p:spPr>
        <p:txBody>
          <a:bodyPr>
            <a:normAutofit/>
          </a:bodyPr>
          <a:lstStyle/>
          <a:p>
            <a:pPr marL="0" indent="0" fontAlgn="auto">
              <a:buNone/>
            </a:pPr>
            <a:r>
              <a:rPr lang="en-US" sz="1600" dirty="0">
                <a:solidFill>
                  <a:schemeClr val="tx1"/>
                </a:solidFill>
                <a:hlinkClick r:id="rId2"/>
              </a:rPr>
              <a:t>http://leumamsv00001/STREAMICS/PostProcessing</a:t>
            </a:r>
            <a:endParaRPr lang="en-US" sz="1600" dirty="0">
              <a:solidFill>
                <a:schemeClr val="tx1"/>
              </a:solidFill>
            </a:endParaRPr>
          </a:p>
          <a:p>
            <a:pPr marL="355600" lvl="1" indent="0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06D090-B346-4F67-9443-18C499DCC3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53" t="8027" r="4782" b="9171"/>
          <a:stretch/>
        </p:blipFill>
        <p:spPr>
          <a:xfrm>
            <a:off x="394925" y="1191529"/>
            <a:ext cx="3507582" cy="2586858"/>
          </a:xfrm>
          <a:prstGeom prst="rect">
            <a:avLst/>
          </a:prstGeom>
        </p:spPr>
      </p:pic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DDC73170-FF6B-4D87-93F2-33E8DAA920B7}"/>
              </a:ext>
            </a:extLst>
          </p:cNvPr>
          <p:cNvSpPr txBox="1">
            <a:spLocks/>
          </p:cNvSpPr>
          <p:nvPr/>
        </p:nvSpPr>
        <p:spPr>
          <a:xfrm>
            <a:off x="4315690" y="1311233"/>
            <a:ext cx="4312117" cy="24671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355600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1pPr>
            <a:lvl2pPr marL="720725" indent="-365125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5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2pPr>
            <a:lvl3pPr marL="893763" indent="-173038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Lucida Grande"/>
              <a:buChar char="-"/>
              <a:tabLst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3pPr>
            <a:lvl4pPr marL="1076325" indent="-182563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/>
              <a:buChar char="–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Login =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firstname.lastname@materialise.be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Password =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Personal password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Tip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Use the same password for both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</a:rPr>
              <a:t>OM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</a:rPr>
              <a:t>Streamics</a:t>
            </a:r>
            <a:endParaRPr lang="en-US" sz="1600" dirty="0">
              <a:solidFill>
                <a:srgbClr val="00B050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355600" lvl="1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2905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Log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F1AE7F-0F83-4AAC-ACE8-DA560B38FCD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502635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utomated workflow Streamics</a:t>
            </a:r>
          </a:p>
        </p:txBody>
      </p:sp>
    </p:spTree>
    <p:extLst>
      <p:ext uri="{BB962C8B-B14F-4D97-AF65-F5344CB8AC3E}">
        <p14:creationId xmlns:p14="http://schemas.microsoft.com/office/powerpoint/2010/main" val="18758897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784350"/>
            <a:ext cx="9144000" cy="1176422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0F0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400" dirty="0" err="1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8AD8524-01BA-42F9-B1FB-7C07D7743405}"/>
              </a:ext>
            </a:extLst>
          </p:cNvPr>
          <p:cNvSpPr/>
          <p:nvPr/>
        </p:nvSpPr>
        <p:spPr>
          <a:xfrm>
            <a:off x="5952027" y="1664570"/>
            <a:ext cx="2476672" cy="14780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4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Motion point of sales</a:t>
            </a:r>
          </a:p>
        </p:txBody>
      </p:sp>
      <p:sp>
        <p:nvSpPr>
          <p:cNvPr id="4" name="Picture Placeholder 32"/>
          <p:cNvSpPr txBox="1">
            <a:spLocks/>
          </p:cNvSpPr>
          <p:nvPr/>
        </p:nvSpPr>
        <p:spPr>
          <a:xfrm>
            <a:off x="579968" y="1676400"/>
            <a:ext cx="2473325" cy="1461310"/>
          </a:xfrm>
          <a:prstGeom prst="rect">
            <a:avLst/>
          </a:prstGeom>
          <a:pattFill prst="smCheck">
            <a:fgClr>
              <a:schemeClr val="tx2">
                <a:lumMod val="85000"/>
              </a:schemeClr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0000"/>
              <a:buFont typeface="Arial"/>
              <a:buNone/>
              <a:defRPr sz="1400" kern="120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720725" indent="-365125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5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2pPr>
            <a:lvl3pPr marL="893763" indent="-173038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Lucida Grande"/>
              <a:buChar char="-"/>
              <a:tabLst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3pPr>
            <a:lvl4pPr marL="1076325" indent="-182563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/>
              <a:buChar char="–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2"/>
          <p:cNvSpPr txBox="1">
            <a:spLocks/>
          </p:cNvSpPr>
          <p:nvPr/>
        </p:nvSpPr>
        <p:spPr>
          <a:xfrm>
            <a:off x="3269345" y="1676400"/>
            <a:ext cx="2473325" cy="1461310"/>
          </a:xfrm>
          <a:prstGeom prst="rect">
            <a:avLst/>
          </a:prstGeom>
          <a:pattFill prst="smCheck">
            <a:fgClr>
              <a:schemeClr val="tx2">
                <a:lumMod val="85000"/>
              </a:schemeClr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0000"/>
              <a:buFont typeface="Arial"/>
              <a:buNone/>
              <a:defRPr sz="1400" kern="120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720725" indent="-365125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5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2pPr>
            <a:lvl3pPr marL="893763" indent="-173038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Lucida Grande"/>
              <a:buChar char="-"/>
              <a:tabLst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3pPr>
            <a:lvl4pPr marL="1076325" indent="-182563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/>
              <a:buChar char="–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31333" y="3342295"/>
            <a:ext cx="18690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1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rdware</a:t>
            </a:r>
            <a:endParaRPr lang="nl-BE" sz="11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30083" y="3338140"/>
            <a:ext cx="18690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1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ftware</a:t>
            </a:r>
            <a:endParaRPr lang="nl-BE" sz="11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328833" y="3321285"/>
            <a:ext cx="18690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100" b="1" i="0" kern="1200" dirty="0" err="1">
                <a:solidFill>
                  <a:schemeClr val="accent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thotics</a:t>
            </a:r>
            <a:endParaRPr lang="nl-BE" sz="11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 descr="3d scanners">
            <a:extLst>
              <a:ext uri="{FF2B5EF4-FFF2-40B4-BE49-F238E27FC236}">
                <a16:creationId xmlns:a16="http://schemas.microsoft.com/office/drawing/2014/main" id="{8D95681F-C7D4-46FC-AAE1-6BC37AEAA0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6"/>
          <a:stretch/>
        </p:blipFill>
        <p:spPr bwMode="auto">
          <a:xfrm>
            <a:off x="579968" y="1671611"/>
            <a:ext cx="2473325" cy="1461310"/>
          </a:xfrm>
          <a:prstGeom prst="rect">
            <a:avLst/>
          </a:prstGeom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6B069097-5FDA-4C17-9E1D-E2DA94BF8E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5998" y="1671611"/>
            <a:ext cx="2473325" cy="1461310"/>
          </a:xfrm>
          <a:prstGeom prst="rect">
            <a:avLst/>
          </a:prstGeom>
        </p:spPr>
      </p:pic>
      <p:pic>
        <p:nvPicPr>
          <p:cNvPr id="16" name="Picture 6">
            <a:extLst>
              <a:ext uri="{FF2B5EF4-FFF2-40B4-BE49-F238E27FC236}">
                <a16:creationId xmlns:a16="http://schemas.microsoft.com/office/drawing/2014/main" id="{FF384685-3D78-4B76-B0BB-A0CD7B7991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2762" y="1659652"/>
            <a:ext cx="1582392" cy="1478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10044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Afbeelding 17">
            <a:extLst>
              <a:ext uri="{FF2B5EF4-FFF2-40B4-BE49-F238E27FC236}">
                <a16:creationId xmlns:a16="http://schemas.microsoft.com/office/drawing/2014/main" id="{E1B88D8E-D8B7-4C55-B045-3C50F90FD7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078" y="1287569"/>
            <a:ext cx="8316057" cy="3537944"/>
          </a:xfrm>
          <a:prstGeom prst="rect">
            <a:avLst/>
          </a:prstGeom>
        </p:spPr>
      </p:pic>
      <p:sp>
        <p:nvSpPr>
          <p:cNvPr id="32" name="Title 4">
            <a:extLst>
              <a:ext uri="{FF2B5EF4-FFF2-40B4-BE49-F238E27FC236}">
                <a16:creationId xmlns:a16="http://schemas.microsoft.com/office/drawing/2014/main" id="{2F862F66-01EE-4B8D-A53C-B321EB56F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3" y="42620"/>
            <a:ext cx="6096000" cy="857250"/>
          </a:xfrm>
        </p:spPr>
        <p:txBody>
          <a:bodyPr/>
          <a:lstStyle/>
          <a:p>
            <a:r>
              <a:rPr lang="en-US" dirty="0"/>
              <a:t>From order to delivery (</a:t>
            </a:r>
            <a:r>
              <a:rPr lang="en-US" dirty="0" err="1"/>
              <a:t>phits</a:t>
            </a:r>
            <a:r>
              <a:rPr lang="en-US" dirty="0"/>
              <a:t>)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809333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4">
            <a:extLst>
              <a:ext uri="{FF2B5EF4-FFF2-40B4-BE49-F238E27FC236}">
                <a16:creationId xmlns:a16="http://schemas.microsoft.com/office/drawing/2014/main" id="{F178CC75-FEAA-4629-9AB0-869A17B9B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3" y="42620"/>
            <a:ext cx="6096000" cy="857250"/>
          </a:xfrm>
        </p:spPr>
        <p:txBody>
          <a:bodyPr/>
          <a:lstStyle/>
          <a:p>
            <a:r>
              <a:rPr lang="en-US" dirty="0"/>
              <a:t>Backend systems (</a:t>
            </a:r>
            <a:r>
              <a:rPr lang="en-US" dirty="0" err="1"/>
              <a:t>phits</a:t>
            </a:r>
            <a:r>
              <a:rPr lang="en-US" dirty="0"/>
              <a:t>)</a:t>
            </a:r>
            <a:endParaRPr lang="nl-BE" dirty="0"/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0F5D8798-5EDA-4AE2-8153-764C1DAE67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027" y="1119897"/>
            <a:ext cx="6745022" cy="3881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790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ontent</a:t>
            </a:r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14" r="12514"/>
          <a:stretch>
            <a:fillRect/>
          </a:stretch>
        </p:blipFill>
        <p:spPr/>
      </p:pic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74134" y="1866203"/>
            <a:ext cx="4167535" cy="2920542"/>
          </a:xfrm>
        </p:spPr>
        <p:txBody>
          <a:bodyPr>
            <a:normAutofit/>
          </a:bodyPr>
          <a:lstStyle/>
          <a:p>
            <a:r>
              <a:rPr lang="nl-BE" sz="1200" dirty="0">
                <a:solidFill>
                  <a:srgbClr val="0D0D16"/>
                </a:solidFill>
                <a:cs typeface="Arial"/>
              </a:rPr>
              <a:t>[1] Streamics</a:t>
            </a:r>
          </a:p>
          <a:p>
            <a:r>
              <a:rPr lang="nl-BE" sz="1200" dirty="0">
                <a:solidFill>
                  <a:srgbClr val="0D0D16"/>
                </a:solidFill>
                <a:cs typeface="Arial"/>
              </a:rPr>
              <a:t>[2] Order ID versus Case ID</a:t>
            </a:r>
          </a:p>
          <a:p>
            <a:r>
              <a:rPr lang="nl-BE" sz="1200" dirty="0">
                <a:solidFill>
                  <a:srgbClr val="0D0D16"/>
                </a:solidFill>
                <a:cs typeface="Arial"/>
              </a:rPr>
              <a:t>[3] Manual workflow Streamics post-processing</a:t>
            </a:r>
          </a:p>
          <a:p>
            <a:pPr marL="171450" indent="-171450">
              <a:buFontTx/>
              <a:buChar char="-"/>
            </a:pPr>
            <a:r>
              <a:rPr lang="nl-BE" sz="1200" dirty="0">
                <a:solidFill>
                  <a:srgbClr val="0D0D16"/>
                </a:solidFill>
                <a:cs typeface="Arial"/>
              </a:rPr>
              <a:t>Promotion of order</a:t>
            </a:r>
          </a:p>
          <a:p>
            <a:pPr marL="171450" indent="-171450">
              <a:buFontTx/>
              <a:buChar char="-"/>
            </a:pPr>
            <a:r>
              <a:rPr lang="nl-BE" sz="1200" dirty="0">
                <a:solidFill>
                  <a:srgbClr val="0D0D16"/>
                </a:solidFill>
                <a:cs typeface="Arial"/>
              </a:rPr>
              <a:t>Scrapping a printed part</a:t>
            </a:r>
          </a:p>
          <a:p>
            <a:r>
              <a:rPr lang="nl-BE" sz="1200" dirty="0">
                <a:solidFill>
                  <a:srgbClr val="0D0D16"/>
                </a:solidFill>
                <a:cs typeface="Arial"/>
              </a:rPr>
              <a:t>[4] Automated </a:t>
            </a:r>
            <a:r>
              <a:rPr lang="nl-BE" sz="1200">
                <a:solidFill>
                  <a:srgbClr val="0D0D16"/>
                </a:solidFill>
                <a:cs typeface="Arial"/>
              </a:rPr>
              <a:t>workflow Streamics post-processing</a:t>
            </a:r>
            <a:endParaRPr lang="nl-BE" sz="1200" dirty="0">
              <a:solidFill>
                <a:srgbClr val="0D0D16"/>
              </a:solidFill>
              <a:cs typeface="Arial"/>
            </a:endParaRPr>
          </a:p>
          <a:p>
            <a:r>
              <a:rPr lang="nl-BE" sz="1200" dirty="0">
                <a:solidFill>
                  <a:srgbClr val="0D0D16"/>
                </a:solidFill>
                <a:cs typeface="Arial"/>
              </a:rPr>
              <a:t>[5] Future</a:t>
            </a:r>
          </a:p>
          <a:p>
            <a:endParaRPr lang="nl-BE" sz="1200" dirty="0"/>
          </a:p>
        </p:txBody>
      </p:sp>
    </p:spTree>
    <p:extLst>
      <p:ext uri="{BB962C8B-B14F-4D97-AF65-F5344CB8AC3E}">
        <p14:creationId xmlns:p14="http://schemas.microsoft.com/office/powerpoint/2010/main" val="20187093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tion backend needs</a:t>
            </a:r>
          </a:p>
        </p:txBody>
      </p:sp>
    </p:spTree>
    <p:extLst>
      <p:ext uri="{BB962C8B-B14F-4D97-AF65-F5344CB8AC3E}">
        <p14:creationId xmlns:p14="http://schemas.microsoft.com/office/powerpoint/2010/main" val="4823503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4132" y="706411"/>
            <a:ext cx="7145867" cy="857250"/>
          </a:xfrm>
        </p:spPr>
        <p:txBody>
          <a:bodyPr/>
          <a:lstStyle/>
          <a:p>
            <a:r>
              <a:rPr lang="nl-BE" dirty="0"/>
              <a:t>High level needs (system independent – not all IT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57199" y="2075310"/>
            <a:ext cx="8111614" cy="2313809"/>
          </a:xfrm>
        </p:spPr>
        <p:txBody>
          <a:bodyPr>
            <a:normAutofit/>
          </a:bodyPr>
          <a:lstStyle/>
          <a:p>
            <a:pPr fontAlgn="auto"/>
            <a:r>
              <a:rPr lang="en-US" sz="1600" dirty="0">
                <a:solidFill>
                  <a:schemeClr val="tx1"/>
                </a:solidFill>
              </a:rPr>
              <a:t>Manufacturing execution system (MES)</a:t>
            </a:r>
          </a:p>
          <a:p>
            <a:pPr fontAlgn="auto"/>
            <a:r>
              <a:rPr lang="en-US" sz="1600" dirty="0">
                <a:solidFill>
                  <a:schemeClr val="tx1"/>
                </a:solidFill>
              </a:rPr>
              <a:t>Financial bookkeeping/stock system (Sox compliant)</a:t>
            </a:r>
          </a:p>
          <a:p>
            <a:pPr fontAlgn="auto"/>
            <a:r>
              <a:rPr lang="en-US" sz="1600" dirty="0">
                <a:solidFill>
                  <a:schemeClr val="tx1"/>
                </a:solidFill>
              </a:rPr>
              <a:t>Quality management system (QMS)</a:t>
            </a:r>
          </a:p>
          <a:p>
            <a:pPr fontAlgn="auto"/>
            <a:r>
              <a:rPr lang="en-US" sz="1600" dirty="0">
                <a:solidFill>
                  <a:schemeClr val="tx1"/>
                </a:solidFill>
              </a:rPr>
              <a:t>Supporting services</a:t>
            </a:r>
          </a:p>
          <a:p>
            <a:pPr fontAlgn="auto"/>
            <a:r>
              <a:rPr lang="en-US" sz="1600" dirty="0">
                <a:solidFill>
                  <a:schemeClr val="tx1"/>
                </a:solidFill>
              </a:rPr>
              <a:t>Production automation</a:t>
            </a:r>
          </a:p>
          <a:p>
            <a:pPr marL="0" indent="0"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355600" lvl="1" indent="0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5754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4133" y="87287"/>
            <a:ext cx="6096000" cy="857250"/>
          </a:xfrm>
        </p:spPr>
        <p:txBody>
          <a:bodyPr/>
          <a:lstStyle/>
          <a:p>
            <a:r>
              <a:rPr lang="nl-BE" dirty="0"/>
              <a:t>Manufacturing execution system (MES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57199" y="1317171"/>
            <a:ext cx="4114801" cy="3733799"/>
          </a:xfrm>
        </p:spPr>
        <p:txBody>
          <a:bodyPr>
            <a:norm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tx1"/>
                </a:solidFill>
              </a:rPr>
              <a:t>Streamics (/OMS)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</a:rPr>
              <a:t>Operational post processing module (promotions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</a:rPr>
              <a:t>Traceability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</a:rPr>
              <a:t>Order search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Customer support</a:t>
            </a:r>
          </a:p>
          <a:p>
            <a:pPr lvl="2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Ticketing system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Futureproof ticketing system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Initiative CAPA – QMS link?</a:t>
            </a:r>
          </a:p>
          <a:p>
            <a:pPr lvl="2"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00B050"/>
                </a:solidFill>
              </a:rPr>
              <a:t>OrderID</a:t>
            </a:r>
            <a:r>
              <a:rPr lang="en-US" sz="1600" dirty="0">
                <a:solidFill>
                  <a:srgbClr val="00B050"/>
                </a:solidFill>
              </a:rPr>
              <a:t> vs CaseID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355600" lvl="1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DFF2FA42-39F2-4987-93D5-D7F2AF91FD83}"/>
              </a:ext>
            </a:extLst>
          </p:cNvPr>
          <p:cNvSpPr txBox="1">
            <a:spLocks/>
          </p:cNvSpPr>
          <p:nvPr/>
        </p:nvSpPr>
        <p:spPr>
          <a:xfrm>
            <a:off x="4572000" y="1317170"/>
            <a:ext cx="4114801" cy="37337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355600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1pPr>
            <a:lvl2pPr marL="720725" indent="-365125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5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2pPr>
            <a:lvl3pPr marL="893763" indent="-173038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Lucida Grande"/>
              <a:buChar char="-"/>
              <a:tabLst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3pPr>
            <a:lvl4pPr marL="1076325" indent="-182563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/>
              <a:buChar char="–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B050"/>
                </a:solidFill>
              </a:rPr>
              <a:t>Successor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rgbClr val="00B050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Replacement of </a:t>
            </a:r>
            <a:r>
              <a:rPr lang="en-US" sz="1600" dirty="0" err="1">
                <a:solidFill>
                  <a:srgbClr val="00B050"/>
                </a:solidFill>
              </a:rPr>
              <a:t>Matlab</a:t>
            </a:r>
            <a:r>
              <a:rPr lang="en-US" sz="1600" dirty="0">
                <a:solidFill>
                  <a:srgbClr val="00B050"/>
                </a:solidFill>
              </a:rPr>
              <a:t> functionalit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Quality control for both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00B050"/>
                </a:solidFill>
              </a:rPr>
              <a:t>Phits</a:t>
            </a:r>
            <a:r>
              <a:rPr lang="en-US" sz="1600" dirty="0">
                <a:solidFill>
                  <a:srgbClr val="00B050"/>
                </a:solidFill>
              </a:rPr>
              <a:t> insole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Footscan plates (electronical devices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Repairs (Return Material Authorization - RMA) for footscan plate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Other functionalities?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050"/>
                </a:solidFill>
              </a:rPr>
              <a:t>(Replacement of Streamics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355600" lvl="1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571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reamics</a:t>
            </a:r>
          </a:p>
        </p:txBody>
      </p:sp>
    </p:spTree>
    <p:extLst>
      <p:ext uri="{BB962C8B-B14F-4D97-AF65-F5344CB8AC3E}">
        <p14:creationId xmlns:p14="http://schemas.microsoft.com/office/powerpoint/2010/main" val="34415424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Manufacturing and post-processing softwa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5C30B6-0FAB-4045-B6F1-A45206EBB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9066" y="1091935"/>
            <a:ext cx="7145867" cy="3839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669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Manufacturing and post-processing software</a:t>
            </a:r>
          </a:p>
        </p:txBody>
      </p:sp>
      <p:pic>
        <p:nvPicPr>
          <p:cNvPr id="2050" name="Picture 2" descr="Production Management Software | Materialise Streamics">
            <a:extLst>
              <a:ext uri="{FF2B5EF4-FFF2-40B4-BE49-F238E27FC236}">
                <a16:creationId xmlns:a16="http://schemas.microsoft.com/office/drawing/2014/main" id="{24B2E828-6B07-4FE0-8427-A144535715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096" y="903393"/>
            <a:ext cx="6992107" cy="4153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5033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Manufacturing and post-processing software</a:t>
            </a:r>
          </a:p>
        </p:txBody>
      </p:sp>
      <p:pic>
        <p:nvPicPr>
          <p:cNvPr id="3074" name="Picture 2" descr="Production Management Software | Materialise Streamics">
            <a:extLst>
              <a:ext uri="{FF2B5EF4-FFF2-40B4-BE49-F238E27FC236}">
                <a16:creationId xmlns:a16="http://schemas.microsoft.com/office/drawing/2014/main" id="{D842084A-FC1E-440F-A047-B8EDCBF730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599" y="850949"/>
            <a:ext cx="7225420" cy="4292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2227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Logi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64128" y="4283913"/>
            <a:ext cx="8111614" cy="484955"/>
          </a:xfrm>
        </p:spPr>
        <p:txBody>
          <a:bodyPr>
            <a:normAutofit/>
          </a:bodyPr>
          <a:lstStyle/>
          <a:p>
            <a:pPr marL="0" indent="0" fontAlgn="auto">
              <a:buNone/>
            </a:pPr>
            <a:r>
              <a:rPr lang="en-US" sz="1600" dirty="0">
                <a:solidFill>
                  <a:schemeClr val="tx1"/>
                </a:solidFill>
                <a:hlinkClick r:id="rId2"/>
              </a:rPr>
              <a:t>http://leumamsv00001/STREAMICS/PostProcessing</a:t>
            </a:r>
            <a:endParaRPr lang="en-US" sz="1600" dirty="0">
              <a:solidFill>
                <a:schemeClr val="tx1"/>
              </a:solidFill>
            </a:endParaRPr>
          </a:p>
          <a:p>
            <a:pPr marL="355600" lvl="1" indent="0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0634030-BA62-45F8-854E-1E053EBA190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78" t="1908" r="3294" b="1121"/>
          <a:stretch/>
        </p:blipFill>
        <p:spPr>
          <a:xfrm>
            <a:off x="464128" y="1273574"/>
            <a:ext cx="3110345" cy="26531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CE7C602-B818-497B-BD17-80F66A5B74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204" t="6181" r="9772" b="10491"/>
          <a:stretch/>
        </p:blipFill>
        <p:spPr>
          <a:xfrm>
            <a:off x="4571999" y="1273573"/>
            <a:ext cx="3267486" cy="2653145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5264593-6A0A-4AA5-A12D-6C26289979F5}"/>
              </a:ext>
            </a:extLst>
          </p:cNvPr>
          <p:cNvCxnSpPr>
            <a:cxnSpLocks/>
          </p:cNvCxnSpPr>
          <p:nvPr/>
        </p:nvCxnSpPr>
        <p:spPr>
          <a:xfrm flipV="1">
            <a:off x="3366655" y="1475509"/>
            <a:ext cx="1143000" cy="321676"/>
          </a:xfrm>
          <a:prstGeom prst="straightConnector1">
            <a:avLst/>
          </a:prstGeom>
          <a:ln w="57150" cmpd="sng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FDA2C96-0ADD-423D-832A-9378D2951B91}"/>
              </a:ext>
            </a:extLst>
          </p:cNvPr>
          <p:cNvCxnSpPr>
            <a:cxnSpLocks/>
          </p:cNvCxnSpPr>
          <p:nvPr/>
        </p:nvCxnSpPr>
        <p:spPr>
          <a:xfrm flipV="1">
            <a:off x="3740728" y="2064327"/>
            <a:ext cx="976745" cy="2174116"/>
          </a:xfrm>
          <a:prstGeom prst="straightConnector1">
            <a:avLst/>
          </a:prstGeom>
          <a:ln w="57150" cmpd="sng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2466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8780" y="431425"/>
            <a:ext cx="7145867" cy="484955"/>
          </a:xfrm>
        </p:spPr>
        <p:txBody>
          <a:bodyPr/>
          <a:lstStyle/>
          <a:p>
            <a:r>
              <a:rPr lang="nl-BE" dirty="0"/>
              <a:t>Login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DDC73170-FF6B-4D87-93F2-33E8DAA920B7}"/>
              </a:ext>
            </a:extLst>
          </p:cNvPr>
          <p:cNvSpPr txBox="1">
            <a:spLocks/>
          </p:cNvSpPr>
          <p:nvPr/>
        </p:nvSpPr>
        <p:spPr>
          <a:xfrm>
            <a:off x="4308763" y="1459566"/>
            <a:ext cx="3900055" cy="33133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355600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1pPr>
            <a:lvl2pPr marL="720725" indent="-365125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SzPct val="125000"/>
              <a:buFont typeface="Arial" panose="020B0604020202020204" pitchFamily="34" charset="0"/>
              <a:buChar char="•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2pPr>
            <a:lvl3pPr marL="893763" indent="-173038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Lucida Grande"/>
              <a:buChar char="-"/>
              <a:tabLst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3pPr>
            <a:lvl4pPr marL="1076325" indent="-182563" algn="l" defTabSz="4572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/>
              <a:buChar char="–"/>
              <a:defRPr sz="1000" kern="1200">
                <a:solidFill>
                  <a:schemeClr val="accent2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Login option 1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firstname.lastname@materialise.be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Login option 2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Abbreviation of name (first letter first name + last name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Password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Personal password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Tip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tx1"/>
                </a:solidFill>
              </a:rPr>
              <a:t>Use the same password for both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</a:rPr>
              <a:t>OM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</a:rPr>
              <a:t>Streamics</a:t>
            </a:r>
            <a:endParaRPr lang="en-US" sz="1600" dirty="0">
              <a:solidFill>
                <a:srgbClr val="00B050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355600" lvl="1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6C939E1-2F8B-4E9A-AC52-870F406F26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8" t="1908" r="3294" b="1121"/>
          <a:stretch/>
        </p:blipFill>
        <p:spPr>
          <a:xfrm>
            <a:off x="464128" y="1273574"/>
            <a:ext cx="3110345" cy="265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3727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rder ID versus Case ID</a:t>
            </a:r>
          </a:p>
        </p:txBody>
      </p:sp>
    </p:spTree>
    <p:extLst>
      <p:ext uri="{BB962C8B-B14F-4D97-AF65-F5344CB8AC3E}">
        <p14:creationId xmlns:p14="http://schemas.microsoft.com/office/powerpoint/2010/main" val="1459730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hema">
  <a:themeElements>
    <a:clrScheme name="Materialise">
      <a:dk1>
        <a:sysClr val="windowText" lastClr="000000"/>
      </a:dk1>
      <a:lt1>
        <a:sysClr val="window" lastClr="FFFFFF"/>
      </a:lt1>
      <a:dk2>
        <a:srgbClr val="FFFFFF"/>
      </a:dk2>
      <a:lt2>
        <a:srgbClr val="939598"/>
      </a:lt2>
      <a:accent1>
        <a:srgbClr val="0058A5"/>
      </a:accent1>
      <a:accent2>
        <a:srgbClr val="0D0D16"/>
      </a:accent2>
      <a:accent3>
        <a:srgbClr val="F0B322"/>
      </a:accent3>
      <a:accent4>
        <a:srgbClr val="3379B9"/>
      </a:accent4>
      <a:accent5>
        <a:srgbClr val="3D3D48"/>
      </a:accent5>
      <a:accent6>
        <a:srgbClr val="6696CA"/>
      </a:accent6>
      <a:hlink>
        <a:srgbClr val="6E6E77"/>
      </a:hlink>
      <a:folHlink>
        <a:srgbClr val="006FE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1100" b="1" i="0" kern="1200" dirty="0" smtClean="0">
            <a:solidFill>
              <a:schemeClr val="tx1"/>
            </a:solidFill>
            <a:effectLst/>
            <a:latin typeface="Arial" panose="020B0604020202020204" pitchFamily="34" charset="0"/>
            <a:ea typeface="+mn-ea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rporate_presentation_slide_deck.pptx" id="{8F2B732A-898B-4B40-A8FD-984F5D45A690}" vid="{1B777AFE-73B4-4562-B7D5-8B33F1C51D7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Materialise">
    <a:dk1>
      <a:sysClr val="windowText" lastClr="000000"/>
    </a:dk1>
    <a:lt1>
      <a:sysClr val="window" lastClr="FFFFFF"/>
    </a:lt1>
    <a:dk2>
      <a:srgbClr val="FFFFFF"/>
    </a:dk2>
    <a:lt2>
      <a:srgbClr val="939598"/>
    </a:lt2>
    <a:accent1>
      <a:srgbClr val="0058A5"/>
    </a:accent1>
    <a:accent2>
      <a:srgbClr val="0D0D16"/>
    </a:accent2>
    <a:accent3>
      <a:srgbClr val="F0B322"/>
    </a:accent3>
    <a:accent4>
      <a:srgbClr val="3379B9"/>
    </a:accent4>
    <a:accent5>
      <a:srgbClr val="3D3D48"/>
    </a:accent5>
    <a:accent6>
      <a:srgbClr val="6696CA"/>
    </a:accent6>
    <a:hlink>
      <a:srgbClr val="6E6E77"/>
    </a:hlink>
    <a:folHlink>
      <a:srgbClr val="006FEB"/>
    </a:folHlink>
  </a:clrScheme>
</a:themeOverride>
</file>

<file path=ppt/theme/themeOverride2.xml><?xml version="1.0" encoding="utf-8"?>
<a:themeOverride xmlns:a="http://schemas.openxmlformats.org/drawingml/2006/main">
  <a:clrScheme name="Materialise">
    <a:dk1>
      <a:sysClr val="windowText" lastClr="000000"/>
    </a:dk1>
    <a:lt1>
      <a:sysClr val="window" lastClr="FFFFFF"/>
    </a:lt1>
    <a:dk2>
      <a:srgbClr val="FFFFFF"/>
    </a:dk2>
    <a:lt2>
      <a:srgbClr val="939598"/>
    </a:lt2>
    <a:accent1>
      <a:srgbClr val="0058A5"/>
    </a:accent1>
    <a:accent2>
      <a:srgbClr val="0D0D16"/>
    </a:accent2>
    <a:accent3>
      <a:srgbClr val="F0B322"/>
    </a:accent3>
    <a:accent4>
      <a:srgbClr val="3379B9"/>
    </a:accent4>
    <a:accent5>
      <a:srgbClr val="3D3D48"/>
    </a:accent5>
    <a:accent6>
      <a:srgbClr val="6696CA"/>
    </a:accent6>
    <a:hlink>
      <a:srgbClr val="6E6E77"/>
    </a:hlink>
    <a:folHlink>
      <a:srgbClr val="006FEB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rporate_presentation_slide_deck</Template>
  <TotalTime>11518</TotalTime>
  <Words>361</Words>
  <Application>Microsoft Office PowerPoint</Application>
  <PresentationFormat>On-screen Show (16:9)</PresentationFormat>
  <Paragraphs>100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Arial Hebrew</vt:lpstr>
      <vt:lpstr>Calibri</vt:lpstr>
      <vt:lpstr>Lucida Grande</vt:lpstr>
      <vt:lpstr>Open Sans</vt:lpstr>
      <vt:lpstr>Raleway Light</vt:lpstr>
      <vt:lpstr>Office-thema</vt:lpstr>
      <vt:lpstr>think-cell Slide</vt:lpstr>
      <vt:lpstr>Python promotion tool</vt:lpstr>
      <vt:lpstr>Content</vt:lpstr>
      <vt:lpstr>Streamics</vt:lpstr>
      <vt:lpstr>Manufacturing and post-processing software</vt:lpstr>
      <vt:lpstr>Manufacturing and post-processing software</vt:lpstr>
      <vt:lpstr>Manufacturing and post-processing software</vt:lpstr>
      <vt:lpstr>Login</vt:lpstr>
      <vt:lpstr>Login</vt:lpstr>
      <vt:lpstr>Order ID versus Case ID</vt:lpstr>
      <vt:lpstr>Order ID &lt;&gt; Case ID</vt:lpstr>
      <vt:lpstr>Order ID &lt;&gt; Case ID</vt:lpstr>
      <vt:lpstr>Order ID &lt;&gt; Case ID</vt:lpstr>
      <vt:lpstr>Manual workflow Streamics</vt:lpstr>
      <vt:lpstr>Login</vt:lpstr>
      <vt:lpstr>Login</vt:lpstr>
      <vt:lpstr>Automated workflow Streamics</vt:lpstr>
      <vt:lpstr>Motion point of sales</vt:lpstr>
      <vt:lpstr>From order to delivery (phits)</vt:lpstr>
      <vt:lpstr>Backend systems (phits)</vt:lpstr>
      <vt:lpstr>Motion backend needs</vt:lpstr>
      <vt:lpstr>High level needs (system independent – not all IT)</vt:lpstr>
      <vt:lpstr>Manufacturing execution system (MES)</vt:lpstr>
    </vt:vector>
  </TitlesOfParts>
  <Company>Materiali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m Smits</dc:creator>
  <cp:lastModifiedBy>Lode Bosmans</cp:lastModifiedBy>
  <cp:revision>71</cp:revision>
  <dcterms:created xsi:type="dcterms:W3CDTF">2019-10-30T13:31:53Z</dcterms:created>
  <dcterms:modified xsi:type="dcterms:W3CDTF">2022-02-15T11:54:03Z</dcterms:modified>
</cp:coreProperties>
</file>